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17"/>
  </p:notesMasterIdLst>
  <p:handoutMasterIdLst>
    <p:handoutMasterId r:id="rId18"/>
  </p:handoutMasterIdLst>
  <p:sldIdLst>
    <p:sldId id="259" r:id="rId2"/>
    <p:sldId id="263" r:id="rId3"/>
    <p:sldId id="271" r:id="rId4"/>
    <p:sldId id="272" r:id="rId5"/>
    <p:sldId id="269" r:id="rId6"/>
    <p:sldId id="273" r:id="rId7"/>
    <p:sldId id="274" r:id="rId8"/>
    <p:sldId id="268" r:id="rId9"/>
    <p:sldId id="280" r:id="rId10"/>
    <p:sldId id="267" r:id="rId11"/>
    <p:sldId id="281" r:id="rId12"/>
    <p:sldId id="265" r:id="rId13"/>
    <p:sldId id="275" r:id="rId14"/>
    <p:sldId id="266" r:id="rId15"/>
    <p:sldId id="262" r:id="rId16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6C78"/>
    <a:srgbClr val="555E5C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9E1CD5-9D16-45DA-8535-5D202E39A6AF}" v="165" dt="2023-01-07T21:11:05.606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6056" autoAdjust="0"/>
  </p:normalViewPr>
  <p:slideViewPr>
    <p:cSldViewPr snapToGrid="0">
      <p:cViewPr varScale="1">
        <p:scale>
          <a:sx n="162" d="100"/>
          <a:sy n="162" d="100"/>
        </p:scale>
        <p:origin x="100" y="1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91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k Sylla" userId="32483385abff8a62" providerId="LiveId" clId="{619E1CD5-9D16-45DA-8535-5D202E39A6AF}"/>
    <pc:docChg chg="undo redo custSel addSld delSld modSld sldOrd modMainMaster">
      <pc:chgData name="Frank Sylla" userId="32483385abff8a62" providerId="LiveId" clId="{619E1CD5-9D16-45DA-8535-5D202E39A6AF}" dt="2023-01-07T21:10:15.172" v="2773" actId="313"/>
      <pc:docMkLst>
        <pc:docMk/>
      </pc:docMkLst>
      <pc:sldChg chg="addSp delSp modSp add del mod">
        <pc:chgData name="Frank Sylla" userId="32483385abff8a62" providerId="LiveId" clId="{619E1CD5-9D16-45DA-8535-5D202E39A6AF}" dt="2023-01-07T21:06:02.269" v="2742" actId="47"/>
        <pc:sldMkLst>
          <pc:docMk/>
          <pc:sldMk cId="0" sldId="257"/>
        </pc:sldMkLst>
        <pc:spChg chg="add del mod">
          <ac:chgData name="Frank Sylla" userId="32483385abff8a62" providerId="LiveId" clId="{619E1CD5-9D16-45DA-8535-5D202E39A6AF}" dt="2023-01-07T20:37:59.525" v="2547" actId="478"/>
          <ac:spMkLst>
            <pc:docMk/>
            <pc:sldMk cId="0" sldId="257"/>
            <ac:spMk id="157" creationId="{00000000-0000-0000-0000-000000000000}"/>
          </ac:spMkLst>
        </pc:spChg>
        <pc:spChg chg="mod">
          <ac:chgData name="Frank Sylla" userId="32483385abff8a62" providerId="LiveId" clId="{619E1CD5-9D16-45DA-8535-5D202E39A6AF}" dt="2023-01-07T20:37:59.525" v="2547" actId="478"/>
          <ac:spMkLst>
            <pc:docMk/>
            <pc:sldMk cId="0" sldId="257"/>
            <ac:spMk id="158" creationId="{00000000-0000-0000-0000-000000000000}"/>
          </ac:spMkLst>
        </pc:spChg>
        <pc:grpChg chg="del">
          <ac:chgData name="Frank Sylla" userId="32483385abff8a62" providerId="LiveId" clId="{619E1CD5-9D16-45DA-8535-5D202E39A6AF}" dt="2023-01-07T20:38:14.834" v="2548" actId="21"/>
          <ac:grpSpMkLst>
            <pc:docMk/>
            <pc:sldMk cId="0" sldId="257"/>
            <ac:grpSpMk id="80" creationId="{00000000-0000-0000-0000-000000000000}"/>
          </ac:grpSpMkLst>
        </pc:grpChg>
        <pc:grpChg chg="add del">
          <ac:chgData name="Frank Sylla" userId="32483385abff8a62" providerId="LiveId" clId="{619E1CD5-9D16-45DA-8535-5D202E39A6AF}" dt="2023-01-07T20:37:59.525" v="2547" actId="478"/>
          <ac:grpSpMkLst>
            <pc:docMk/>
            <pc:sldMk cId="0" sldId="257"/>
            <ac:grpSpMk id="156" creationId="{00000000-0000-0000-0000-000000000000}"/>
          </ac:grpSpMkLst>
        </pc:grpChg>
      </pc:sldChg>
      <pc:sldChg chg="delSp add del">
        <pc:chgData name="Frank Sylla" userId="32483385abff8a62" providerId="LiveId" clId="{619E1CD5-9D16-45DA-8535-5D202E39A6AF}" dt="2023-01-06T21:05:00.749" v="924" actId="47"/>
        <pc:sldMkLst>
          <pc:docMk/>
          <pc:sldMk cId="4196320131" sldId="257"/>
        </pc:sldMkLst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" creationId="{D63FBF83-3ECB-4340-91E5-C6B27495F0A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" creationId="{9528D16E-E026-46FE-AD6C-0602A2F8ACC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" creationId="{702D68D6-BCEE-4CD6-A859-F8FEE9A0430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" creationId="{A17A889C-AF6D-42C1-8D05-20E9BED2C07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" creationId="{0664328E-1473-4111-93BA-CD26B24A80B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" creationId="{45870EA3-B0B6-458D-9DFE-2AA92AAFBE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" creationId="{C77FF8A0-EB15-459F-8D7C-D7C7E966148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" creationId="{44FB1FEC-6B05-4C2B-ADE0-DCA0A6867D6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" creationId="{D785A5A7-BDB7-4BB4-8818-1933CDF03BC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" creationId="{CE6A966A-706B-484A-A6BC-E2FFC4BB5B2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" creationId="{F1FB3E25-1B4D-410C-8B09-983F0806CA8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" creationId="{B7DD6488-912F-42D7-B068-E78990AD1E3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" creationId="{E69C1CAF-B0FF-4E74-BDDD-613033E6DAC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" creationId="{BD1E6707-9CF6-4681-83FB-0D3C21729A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" creationId="{09E6FF19-4953-49FD-9AD0-8981123C6B9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7" creationId="{986964FC-E7AC-496E-84F2-2A6DE81A8F6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8" creationId="{0C06C5E3-D887-4715-8D48-84E99654EC6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9" creationId="{ECDFB61D-AC6B-45F1-A384-6EF28796D17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0" creationId="{3580D050-52C1-4CE9-8E25-8620120EE89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1" creationId="{73EF2BF6-E854-4FC5-8F55-D9A1D720927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2" creationId="{8B8DCAA7-5420-43E6-B8FB-21FDEE654B0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3" creationId="{557C00DC-FBE0-40D6-B23E-E5B78DC4142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4" creationId="{274436F1-2815-4843-BC21-5AC9E3FC5A0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5" creationId="{3223E2B2-E965-4E8C-AD2B-FF863878FB7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6" creationId="{9C22486C-E8C0-4417-A19C-A579F89D776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7" creationId="{86DFB39A-FFCD-4650-88EF-82872C17D9D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8" creationId="{52B5167D-8048-45C0-AC8C-49EF3DA1032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9" creationId="{C73C7AC7-5B05-4809-AAFF-70D4EC29CFE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0" creationId="{F9C8488A-F93B-4FCC-9A45-CC3170BE7D8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1" creationId="{AB4CC178-048A-4B0C-B134-C59A89BA715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2" creationId="{C53EE7DD-C6F8-4046-9454-3CD857EAC8D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3" creationId="{17CF2225-DBED-40E6-A852-CC85BAAFA1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4" creationId="{27D65077-D737-4E93-81C7-9DF03A9B4F1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5" creationId="{3C4DEEDF-5F2D-4EBB-B3ED-1D676F7391C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6" creationId="{DEC09F6D-2D69-4EAF-9FFA-9B739CF5306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7" creationId="{B2120BBA-1933-4FD7-9CFE-E7091BC0781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8" creationId="{F10299EA-9454-427B-8E33-F05A319C3D0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9" creationId="{FE72ABD5-7022-4400-9C33-81BEB6F68EF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0" creationId="{90DFB556-281C-47F7-9149-392224AA458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1" creationId="{A01BF4FE-5FC6-49CF-8766-D1639130CAC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2" creationId="{B794E157-4316-4C58-81B5-E9FEC88A422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3" creationId="{645688CC-E00D-4F99-A014-401E2A73796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4" creationId="{6D4A2ECF-F337-4989-AB03-523A9B4A532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5" creationId="{5FBD567F-D315-432A-A6DF-F0C93DC20E1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6" creationId="{181A9EFE-044E-44D5-B509-B88FDE24EC4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68" creationId="{A43880E6-51DE-41F0-BFB0-F3AEB71D81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75" creationId="{94BC634B-A5ED-40B5-964E-7ED6F1D3F43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76" creationId="{565FABB2-73D6-4482-9DA2-E536F30A82B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3" creationId="{6E16CE07-08E1-42A7-9C17-80B2CD69A4E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4" creationId="{00B487E9-1C90-448D-8002-CBE3C686C2D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1" creationId="{CECBA7D8-6BBD-45A7-A6DD-F6893F100364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2" creationId="{2010659B-5837-49D4-8A69-E7D1399781E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9" creationId="{10BE37DA-F180-429D-9DBA-ECF91202BC9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2" creationId="{FD106716-A668-4D7F-AF6F-1F673F0F6B4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5" creationId="{F461AB6F-E4D3-4CF7-B315-2EA05F23A1D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8" creationId="{5E7E3660-7578-4EAA-AECE-C52E143264C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9" creationId="{48933864-57FA-48AD-8937-46AD3326E4F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1" creationId="{CC4A9AA4-6DC4-4C2A-A9E1-9D5C27297DF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2" creationId="{7A4F887B-2E76-4724-91C0-940BF0D755A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4" creationId="{9B15B228-D367-48AD-9D3B-C30D601E68B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5" creationId="{6E7EDF48-5B40-4E8F-8C1E-110CF63ACB2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7" creationId="{0378B019-C7D9-44AB-BA07-254ECA32E5F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8" creationId="{0AB4CCA7-EFC2-48F2-A419-24F15C8D519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0" creationId="{F9D695DB-97BC-4812-8747-21FA85877CD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1" creationId="{FA227D1E-1783-4396-BDEA-FB5C610F960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3" creationId="{06449ED4-C474-4B08-94CF-684F71EAF62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4" creationId="{573AC5F8-ECAC-4087-9BCE-17977CEE35E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6" creationId="{1CCF497A-EC2A-49C9-B79B-62B57D3AF3B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7" creationId="{20389DCD-7DEB-42EA-88BC-21C610E45A7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4" creationId="{E5FDF636-55D7-4A20-9C8C-301FB652701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5" creationId="{87F29AD2-A6CF-4C3E-9D36-F17D7FB8063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2" creationId="{07DF365A-5D83-4B05-828E-EAAB5EC0A02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3" creationId="{684797F5-E8A3-4E29-AD26-BD664229392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0" creationId="{E8FC1429-59E4-4B76-B774-7E77EF46314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1" creationId="{E55FAA1B-9D37-42C2-89C0-161D81A6F2E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8" creationId="{FDFDB23E-9313-4C8F-9CA4-DF2A50385E2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9" creationId="{210E7290-E83D-47A9-B2CF-C0CE7767AA1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6" creationId="{43702556-9553-4CAA-8C9B-E24DFC39426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7" creationId="{2268299A-84DB-486E-B0C1-88C2649B5A7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4" creationId="{75AB2C32-3559-4538-B2A6-E31FD5D053C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5" creationId="{659AC24C-003C-464A-93EC-300345256DE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2" creationId="{420E6F72-9BD9-4F78-A981-E721F61D5B7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3" creationId="{EA1C8ACE-41E8-45D0-BAFB-08021D61AA3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5" creationId="{C0BAE52E-2FEF-491F-AC87-15E11246D4B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6" creationId="{31F09B7D-10A4-4D88-ACE0-DC15F7DAB5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8" creationId="{AE19DFD3-C978-4E06-8475-2C7DE9C9726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9" creationId="{F27F6BCA-DAC9-4BEF-9F0F-19426CD4771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6" creationId="{D1318774-8A15-40FD-880D-6F71AFED72E4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7" creationId="{BF5855BB-11D8-4BF8-B6C6-8588D888052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8" creationId="{919AEA73-D378-44AC-A2CB-16A5C9357A5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9" creationId="{B6C48049-BEDB-4C34-AD15-9756C13C224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0" creationId="{F0EAEE4D-69A9-4827-9AEC-6CF4DF7E4C6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1" creationId="{BEA93C66-3CE8-47A8-95B7-78AAB7D87F3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2" creationId="{FDCB43B9-7442-4916-A09E-3F85B18347D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3" creationId="{7D194EFE-5272-4196-B26E-246389EFEA3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4" creationId="{D762DE75-A5E6-4910-B756-79979CB69CF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5" creationId="{6F43937F-A062-4B0C-B44A-E6C6C4A57CA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6" creationId="{D9CAFE49-12D4-4F60-9E3A-0FD7D177558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7" creationId="{B77B5AAB-EAC6-4C80-A1F3-5F9D3348CC3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8" creationId="{75AEFEFD-969D-41FB-95A2-EE28F5DCC84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9" creationId="{FBB5213F-33D0-4B3E-913B-1ECF6DF68E2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0" creationId="{DB0FD1B6-8A2E-4E13-835D-7540578BBD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1" creationId="{78EB7298-6F70-4277-893D-92E8A5792B8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2" creationId="{CDB2FF1F-063A-4956-AEC3-B0105D22CD44}"/>
          </ac:spMkLst>
        </pc:sp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1" creationId="{9673448D-729D-4C0C-9DD5-21AC28144E2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2" creationId="{84A3F395-DE34-4ABA-8976-9C9166EBD2DB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3" creationId="{54B2F73D-5231-4641-8ED3-B84894F96B33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4" creationId="{03606440-DF72-46FF-9C5D-536C93536F36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5" creationId="{64D77166-88D4-4D17-8D77-AD964F8679FF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6" creationId="{2B245DF7-058F-45E8-985D-F1B4BE8BFCD6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7" creationId="{039554A7-6790-48F0-94DA-E4319F8B861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8" creationId="{6D225C7A-A90B-4E39-9671-079B3B3213E1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9" creationId="{793D65A5-5BE5-4707-AFDD-F9C5B977E55E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0" creationId="{53A4A52A-F432-4D5A-9511-11A2135E846E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1" creationId="{99448B93-B9BC-4352-854E-52CA996BC61A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2" creationId="{EA6F3A69-6691-4BB4-BF8C-9E31B1A21548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3" creationId="{CECD8135-ABB8-4C4E-BA45-049792E3E5F8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4" creationId="{80406FDC-A8D1-436D-9420-C8D4E53ACE20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5" creationId="{FA65BFB4-0D8F-4E46-A038-6073F39CB42F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6" creationId="{409FF3DB-2C71-44EF-B3A0-43AC3A1F322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7" creationId="{1AA08D55-0D5D-4F7A-9117-4ADA2397AA99}"/>
          </ac:cxnSpMkLst>
        </pc:cxnChg>
      </pc:sldChg>
      <pc:sldChg chg="addSp delSp modSp mod">
        <pc:chgData name="Frank Sylla" userId="32483385abff8a62" providerId="LiveId" clId="{619E1CD5-9D16-45DA-8535-5D202E39A6AF}" dt="2023-01-07T11:43:35.870" v="2188" actId="20577"/>
        <pc:sldMkLst>
          <pc:docMk/>
          <pc:sldMk cId="2526338622" sldId="259"/>
        </pc:sldMkLst>
        <pc:spChg chg="mod ord">
          <ac:chgData name="Frank Sylla" userId="32483385abff8a62" providerId="LiveId" clId="{619E1CD5-9D16-45DA-8535-5D202E39A6AF}" dt="2023-01-07T11:43:35.870" v="2188" actId="20577"/>
          <ac:spMkLst>
            <pc:docMk/>
            <pc:sldMk cId="2526338622" sldId="259"/>
            <ac:spMk id="3" creationId="{9DD5EEDF-81EA-4635-A321-224809AD7463}"/>
          </ac:spMkLst>
        </pc:spChg>
        <pc:spChg chg="add del">
          <ac:chgData name="Frank Sylla" userId="32483385abff8a62" providerId="LiveId" clId="{619E1CD5-9D16-45DA-8535-5D202E39A6AF}" dt="2023-01-07T11:07:16.912" v="1233" actId="478"/>
          <ac:spMkLst>
            <pc:docMk/>
            <pc:sldMk cId="2526338622" sldId="259"/>
            <ac:spMk id="6" creationId="{388C9AA0-CD5E-4E54-B080-35E4CC27FE47}"/>
          </ac:spMkLst>
        </pc:spChg>
      </pc:sldChg>
      <pc:sldChg chg="del mod modShow">
        <pc:chgData name="Frank Sylla" userId="32483385abff8a62" providerId="LiveId" clId="{619E1CD5-9D16-45DA-8535-5D202E39A6AF}" dt="2023-01-07T19:19:06.180" v="2190" actId="47"/>
        <pc:sldMkLst>
          <pc:docMk/>
          <pc:sldMk cId="3818779170" sldId="260"/>
        </pc:sldMkLst>
      </pc:sldChg>
      <pc:sldChg chg="del">
        <pc:chgData name="Frank Sylla" userId="32483385abff8a62" providerId="LiveId" clId="{619E1CD5-9D16-45DA-8535-5D202E39A6AF}" dt="2023-01-07T11:42:55.224" v="2183" actId="47"/>
        <pc:sldMkLst>
          <pc:docMk/>
          <pc:sldMk cId="4055153939" sldId="261"/>
        </pc:sldMkLst>
      </pc:sldChg>
      <pc:sldChg chg="addSp delSp modSp mod">
        <pc:chgData name="Frank Sylla" userId="32483385abff8a62" providerId="LiveId" clId="{619E1CD5-9D16-45DA-8535-5D202E39A6AF}" dt="2023-01-07T21:10:15.172" v="2773" actId="313"/>
        <pc:sldMkLst>
          <pc:docMk/>
          <pc:sldMk cId="2551964664" sldId="262"/>
        </pc:sldMkLst>
        <pc:spChg chg="del">
          <ac:chgData name="Frank Sylla" userId="32483385abff8a62" providerId="LiveId" clId="{619E1CD5-9D16-45DA-8535-5D202E39A6AF}" dt="2023-01-05T15:34:02.878" v="397" actId="931"/>
          <ac:spMkLst>
            <pc:docMk/>
            <pc:sldMk cId="2551964664" sldId="262"/>
            <ac:spMk id="2" creationId="{6491E8D2-FDAB-4A49-B8D7-7A076012E366}"/>
          </ac:spMkLst>
        </pc:spChg>
        <pc:spChg chg="mod">
          <ac:chgData name="Frank Sylla" userId="32483385abff8a62" providerId="LiveId" clId="{619E1CD5-9D16-45DA-8535-5D202E39A6AF}" dt="2023-01-07T21:10:15.172" v="2773" actId="313"/>
          <ac:spMkLst>
            <pc:docMk/>
            <pc:sldMk cId="2551964664" sldId="262"/>
            <ac:spMk id="3" creationId="{F117DBFA-AD66-42B6-93D0-1BE0203F03BA}"/>
          </ac:spMkLst>
        </pc:spChg>
        <pc:picChg chg="add mod">
          <ac:chgData name="Frank Sylla" userId="32483385abff8a62" providerId="LiveId" clId="{619E1CD5-9D16-45DA-8535-5D202E39A6AF}" dt="2023-01-05T15:34:02.878" v="397" actId="931"/>
          <ac:picMkLst>
            <pc:docMk/>
            <pc:sldMk cId="2551964664" sldId="262"/>
            <ac:picMk id="5" creationId="{9B47F56A-A64E-FA04-7E6E-8E70E340B0CA}"/>
          </ac:picMkLst>
        </pc:picChg>
      </pc:sldChg>
      <pc:sldChg chg="del">
        <pc:chgData name="Frank Sylla" userId="32483385abff8a62" providerId="LiveId" clId="{619E1CD5-9D16-45DA-8535-5D202E39A6AF}" dt="2023-01-05T15:17:45.690" v="339" actId="2696"/>
        <pc:sldMkLst>
          <pc:docMk/>
          <pc:sldMk cId="106210943" sldId="264"/>
        </pc:sldMkLst>
      </pc:sldChg>
      <pc:sldChg chg="modSp mod">
        <pc:chgData name="Frank Sylla" userId="32483385abff8a62" providerId="LiveId" clId="{619E1CD5-9D16-45DA-8535-5D202E39A6AF}" dt="2023-01-05T15:04:07.678" v="162" actId="20577"/>
        <pc:sldMkLst>
          <pc:docMk/>
          <pc:sldMk cId="2853273461" sldId="271"/>
        </pc:sldMkLst>
        <pc:spChg chg="mod">
          <ac:chgData name="Frank Sylla" userId="32483385abff8a62" providerId="LiveId" clId="{619E1CD5-9D16-45DA-8535-5D202E39A6AF}" dt="2023-01-05T14:57:20.510" v="28" actId="1076"/>
          <ac:spMkLst>
            <pc:docMk/>
            <pc:sldMk cId="2853273461" sldId="271"/>
            <ac:spMk id="7" creationId="{0D64077C-3225-12AB-600C-CC85E049605A}"/>
          </ac:spMkLst>
        </pc:spChg>
        <pc:spChg chg="mod">
          <ac:chgData name="Frank Sylla" userId="32483385abff8a62" providerId="LiveId" clId="{619E1CD5-9D16-45DA-8535-5D202E39A6AF}" dt="2023-01-05T15:04:07.678" v="162" actId="20577"/>
          <ac:spMkLst>
            <pc:docMk/>
            <pc:sldMk cId="2853273461" sldId="271"/>
            <ac:spMk id="20" creationId="{82766ABC-B04A-A6EF-0156-28ACD0CBAC0C}"/>
          </ac:spMkLst>
        </pc:spChg>
        <pc:spChg chg="mod">
          <ac:chgData name="Frank Sylla" userId="32483385abff8a62" providerId="LiveId" clId="{619E1CD5-9D16-45DA-8535-5D202E39A6AF}" dt="2023-01-05T14:57:53.618" v="41" actId="20577"/>
          <ac:spMkLst>
            <pc:docMk/>
            <pc:sldMk cId="2853273461" sldId="271"/>
            <ac:spMk id="21" creationId="{5A7872E3-B8A0-2C31-1243-6E9E4D96BB4E}"/>
          </ac:spMkLst>
        </pc:spChg>
      </pc:sldChg>
      <pc:sldChg chg="addSp delSp modSp new mod modClrScheme chgLayout">
        <pc:chgData name="Frank Sylla" userId="32483385abff8a62" providerId="LiveId" clId="{619E1CD5-9D16-45DA-8535-5D202E39A6AF}" dt="2023-01-05T15:15:44.665" v="338" actId="1076"/>
        <pc:sldMkLst>
          <pc:docMk/>
          <pc:sldMk cId="3469265579" sldId="272"/>
        </pc:sldMkLst>
        <pc:spChg chg="del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2" creationId="{A73667B3-EF47-8FBA-4878-A0A9F153226E}"/>
          </ac:spMkLst>
        </pc:spChg>
        <pc:spChg chg="del mod ord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3" creationId="{E88FAE67-B0FE-F0B0-041D-8224028477B4}"/>
          </ac:spMkLst>
        </pc:spChg>
        <pc:spChg chg="del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4" creationId="{9B3E7F3D-FF6A-A8CC-A299-16F8DBF1223D}"/>
          </ac:spMkLst>
        </pc:spChg>
        <pc:spChg chg="add del mod ord">
          <ac:chgData name="Frank Sylla" userId="32483385abff8a62" providerId="LiveId" clId="{619E1CD5-9D16-45DA-8535-5D202E39A6AF}" dt="2023-01-05T15:06:12.459" v="166" actId="26606"/>
          <ac:spMkLst>
            <pc:docMk/>
            <pc:sldMk cId="3469265579" sldId="272"/>
            <ac:spMk id="5" creationId="{8CF280B9-0E12-5096-1882-39D2E749D8E4}"/>
          </ac:spMkLst>
        </pc:spChg>
        <pc:spChg chg="add del mod">
          <ac:chgData name="Frank Sylla" userId="32483385abff8a62" providerId="LiveId" clId="{619E1CD5-9D16-45DA-8535-5D202E39A6AF}" dt="2023-01-05T15:11:16.429" v="209" actId="478"/>
          <ac:spMkLst>
            <pc:docMk/>
            <pc:sldMk cId="3469265579" sldId="272"/>
            <ac:spMk id="9" creationId="{70399F33-5561-D9F6-A799-5BE4C057A9D2}"/>
          </ac:spMkLst>
        </pc:spChg>
        <pc:spChg chg="add mod">
          <ac:chgData name="Frank Sylla" userId="32483385abff8a62" providerId="LiveId" clId="{619E1CD5-9D16-45DA-8535-5D202E39A6AF}" dt="2023-01-05T15:12:19.252" v="246" actId="1076"/>
          <ac:spMkLst>
            <pc:docMk/>
            <pc:sldMk cId="3469265579" sldId="272"/>
            <ac:spMk id="10" creationId="{DB38949F-964B-5161-B410-8EE26C70B322}"/>
          </ac:spMkLst>
        </pc:spChg>
        <pc:spChg chg="add mod">
          <ac:chgData name="Frank Sylla" userId="32483385abff8a62" providerId="LiveId" clId="{619E1CD5-9D16-45DA-8535-5D202E39A6AF}" dt="2023-01-05T15:15:44.665" v="338" actId="1076"/>
          <ac:spMkLst>
            <pc:docMk/>
            <pc:sldMk cId="3469265579" sldId="272"/>
            <ac:spMk id="11" creationId="{A605349A-A3C7-D31B-DE21-012D85DAC41B}"/>
          </ac:spMkLst>
        </pc:spChg>
        <pc:spChg chg="add del mod">
          <ac:chgData name="Frank Sylla" userId="32483385abff8a62" providerId="LiveId" clId="{619E1CD5-9D16-45DA-8535-5D202E39A6AF}" dt="2023-01-05T15:11:00.048" v="208" actId="478"/>
          <ac:spMkLst>
            <pc:docMk/>
            <pc:sldMk cId="3469265579" sldId="272"/>
            <ac:spMk id="12" creationId="{6B61F15A-3A7D-02E7-C57F-368A0AA9C56C}"/>
          </ac:spMkLst>
        </pc:spChg>
        <pc:spChg chg="add mod">
          <ac:chgData name="Frank Sylla" userId="32483385abff8a62" providerId="LiveId" clId="{619E1CD5-9D16-45DA-8535-5D202E39A6AF}" dt="2023-01-05T15:13:12.916" v="293" actId="1076"/>
          <ac:spMkLst>
            <pc:docMk/>
            <pc:sldMk cId="3469265579" sldId="272"/>
            <ac:spMk id="13" creationId="{25F7C1BC-F2FE-4FAA-61B1-92CC41A813B1}"/>
          </ac:spMkLst>
        </pc:spChg>
        <pc:spChg chg="add mod">
          <ac:chgData name="Frank Sylla" userId="32483385abff8a62" providerId="LiveId" clId="{619E1CD5-9D16-45DA-8535-5D202E39A6AF}" dt="2023-01-05T15:12:33.843" v="253" actId="688"/>
          <ac:spMkLst>
            <pc:docMk/>
            <pc:sldMk cId="3469265579" sldId="272"/>
            <ac:spMk id="14" creationId="{46B473D7-F22D-82DF-1146-D5E495F6477A}"/>
          </ac:spMkLst>
        </pc:spChg>
        <pc:spChg chg="add mod">
          <ac:chgData name="Frank Sylla" userId="32483385abff8a62" providerId="LiveId" clId="{619E1CD5-9D16-45DA-8535-5D202E39A6AF}" dt="2023-01-05T15:12:04.552" v="237" actId="688"/>
          <ac:spMkLst>
            <pc:docMk/>
            <pc:sldMk cId="3469265579" sldId="272"/>
            <ac:spMk id="15" creationId="{150A6B15-1BD0-B508-57FD-AC0B74141A2E}"/>
          </ac:spMkLst>
        </pc:spChg>
        <pc:spChg chg="add mod">
          <ac:chgData name="Frank Sylla" userId="32483385abff8a62" providerId="LiveId" clId="{619E1CD5-9D16-45DA-8535-5D202E39A6AF}" dt="2023-01-05T15:14:20.691" v="327" actId="688"/>
          <ac:spMkLst>
            <pc:docMk/>
            <pc:sldMk cId="3469265579" sldId="272"/>
            <ac:spMk id="16" creationId="{4A02E94B-342F-7E2A-3414-D672A7D8F0D4}"/>
          </ac:spMkLst>
        </pc:spChg>
        <pc:spChg chg="add mod">
          <ac:chgData name="Frank Sylla" userId="32483385abff8a62" providerId="LiveId" clId="{619E1CD5-9D16-45DA-8535-5D202E39A6AF}" dt="2023-01-05T15:15:21.935" v="337" actId="1076"/>
          <ac:spMkLst>
            <pc:docMk/>
            <pc:sldMk cId="3469265579" sldId="272"/>
            <ac:spMk id="17" creationId="{E8A85B4B-8BA3-9E9C-F03D-9A38BCAE792B}"/>
          </ac:spMkLst>
        </pc:spChg>
        <pc:picChg chg="add mod">
          <ac:chgData name="Frank Sylla" userId="32483385abff8a62" providerId="LiveId" clId="{619E1CD5-9D16-45DA-8535-5D202E39A6AF}" dt="2023-01-05T15:13:05.612" v="292" actId="1035"/>
          <ac:picMkLst>
            <pc:docMk/>
            <pc:sldMk cId="3469265579" sldId="272"/>
            <ac:picMk id="7" creationId="{AC4A9A35-0EDE-BEBE-3352-3786DEA09EA6}"/>
          </ac:picMkLst>
        </pc:picChg>
      </pc:sldChg>
      <pc:sldChg chg="addSp delSp modSp new mod modClrScheme modAnim chgLayout">
        <pc:chgData name="Frank Sylla" userId="32483385abff8a62" providerId="LiveId" clId="{619E1CD5-9D16-45DA-8535-5D202E39A6AF}" dt="2023-01-07T19:33:18.349" v="2259"/>
        <pc:sldMkLst>
          <pc:docMk/>
          <pc:sldMk cId="1389233283" sldId="273"/>
        </pc:sldMkLst>
        <pc:spChg chg="del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2" creationId="{4E144C45-87B7-1349-9B8C-204E837C834B}"/>
          </ac:spMkLst>
        </pc:spChg>
        <pc:spChg chg="del mod ord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3" creationId="{A3254B37-A5E1-3058-D284-688649F145CD}"/>
          </ac:spMkLst>
        </pc:spChg>
        <pc:spChg chg="del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4" creationId="{22AAC4E7-8505-8B82-4F04-11C2DCB1CF84}"/>
          </ac:spMkLst>
        </pc:spChg>
        <pc:spChg chg="add del mod ord">
          <ac:chgData name="Frank Sylla" userId="32483385abff8a62" providerId="LiveId" clId="{619E1CD5-9D16-45DA-8535-5D202E39A6AF}" dt="2023-01-05T15:19:43.564" v="373" actId="478"/>
          <ac:spMkLst>
            <pc:docMk/>
            <pc:sldMk cId="1389233283" sldId="273"/>
            <ac:spMk id="5" creationId="{0394257E-2FD5-4072-FEE8-DF19707A91FC}"/>
          </ac:spMkLst>
        </pc:spChg>
        <pc:spChg chg="add mod">
          <ac:chgData name="Frank Sylla" userId="32483385abff8a62" providerId="LiveId" clId="{619E1CD5-9D16-45DA-8535-5D202E39A6AF}" dt="2023-01-07T19:26:30.994" v="2241" actId="12"/>
          <ac:spMkLst>
            <pc:docMk/>
            <pc:sldMk cId="1389233283" sldId="273"/>
            <ac:spMk id="7" creationId="{3C1B2E96-AB05-9418-066C-5C26B038252E}"/>
          </ac:spMkLst>
        </pc:spChg>
        <pc:spChg chg="add del mod">
          <ac:chgData name="Frank Sylla" userId="32483385abff8a62" providerId="LiveId" clId="{619E1CD5-9D16-45DA-8535-5D202E39A6AF}" dt="2023-01-06T19:59:38.959" v="750" actId="21"/>
          <ac:spMkLst>
            <pc:docMk/>
            <pc:sldMk cId="1389233283" sldId="273"/>
            <ac:spMk id="10" creationId="{49B5593C-D586-2270-5B85-60132E13515B}"/>
          </ac:spMkLst>
        </pc:spChg>
        <pc:spChg chg="add del mod">
          <ac:chgData name="Frank Sylla" userId="32483385abff8a62" providerId="LiveId" clId="{619E1CD5-9D16-45DA-8535-5D202E39A6AF}" dt="2023-01-06T19:43:56.747" v="449" actId="931"/>
          <ac:spMkLst>
            <pc:docMk/>
            <pc:sldMk cId="1389233283" sldId="273"/>
            <ac:spMk id="14" creationId="{C2886272-2DB7-950C-A7AA-FDE2467BE8EA}"/>
          </ac:spMkLst>
        </pc:spChg>
        <pc:spChg chg="add del mod">
          <ac:chgData name="Frank Sylla" userId="32483385abff8a62" providerId="LiveId" clId="{619E1CD5-9D16-45DA-8535-5D202E39A6AF}" dt="2023-01-06T19:46:23.671" v="457" actId="26606"/>
          <ac:spMkLst>
            <pc:docMk/>
            <pc:sldMk cId="1389233283" sldId="273"/>
            <ac:spMk id="16" creationId="{A75CB575-124C-5294-E487-44C523460B46}"/>
          </ac:spMkLst>
        </pc:spChg>
        <pc:spChg chg="add del">
          <ac:chgData name="Frank Sylla" userId="32483385abff8a62" providerId="LiveId" clId="{619E1CD5-9D16-45DA-8535-5D202E39A6AF}" dt="2023-01-06T19:46:46.915" v="460" actId="26606"/>
          <ac:spMkLst>
            <pc:docMk/>
            <pc:sldMk cId="1389233283" sldId="273"/>
            <ac:spMk id="18" creationId="{C5A6D2EE-6CC8-006C-6B32-7F4C80C9FB5B}"/>
          </ac:spMkLst>
        </pc:spChg>
        <pc:spChg chg="add del">
          <ac:chgData name="Frank Sylla" userId="32483385abff8a62" providerId="LiveId" clId="{619E1CD5-9D16-45DA-8535-5D202E39A6AF}" dt="2023-01-06T19:44:31.691" v="453" actId="26606"/>
          <ac:spMkLst>
            <pc:docMk/>
            <pc:sldMk cId="1389233283" sldId="273"/>
            <ac:spMk id="21" creationId="{62804B1F-7D1F-EC20-E551-E15154FECA35}"/>
          </ac:spMkLst>
        </pc:spChg>
        <pc:spChg chg="add del mod">
          <ac:chgData name="Frank Sylla" userId="32483385abff8a62" providerId="LiveId" clId="{619E1CD5-9D16-45DA-8535-5D202E39A6AF}" dt="2023-01-06T19:47:06.021" v="464" actId="26606"/>
          <ac:spMkLst>
            <pc:docMk/>
            <pc:sldMk cId="1389233283" sldId="273"/>
            <ac:spMk id="23" creationId="{C1C21D65-50C1-AAE8-BEAB-7DF8DDFF2A8D}"/>
          </ac:spMkLst>
        </pc:spChg>
        <pc:spChg chg="add del mod">
          <ac:chgData name="Frank Sylla" userId="32483385abff8a62" providerId="LiveId" clId="{619E1CD5-9D16-45DA-8535-5D202E39A6AF}" dt="2023-01-06T19:47:06.021" v="464" actId="26606"/>
          <ac:spMkLst>
            <pc:docMk/>
            <pc:sldMk cId="1389233283" sldId="273"/>
            <ac:spMk id="25" creationId="{E13F1714-0F8F-DA94-9DAD-5BBF104BC6AF}"/>
          </ac:spMkLst>
        </pc:spChg>
        <pc:spChg chg="add del mod">
          <ac:chgData name="Frank Sylla" userId="32483385abff8a62" providerId="LiveId" clId="{619E1CD5-9D16-45DA-8535-5D202E39A6AF}" dt="2023-01-06T19:47:27.793" v="468" actId="478"/>
          <ac:spMkLst>
            <pc:docMk/>
            <pc:sldMk cId="1389233283" sldId="273"/>
            <ac:spMk id="30" creationId="{6773D126-2B53-D603-A1D2-DCF2EFFD98A6}"/>
          </ac:spMkLst>
        </pc:spChg>
        <pc:spChg chg="add mod">
          <ac:chgData name="Frank Sylla" userId="32483385abff8a62" providerId="LiveId" clId="{619E1CD5-9D16-45DA-8535-5D202E39A6AF}" dt="2023-01-07T19:21:23.080" v="2204" actId="20577"/>
          <ac:spMkLst>
            <pc:docMk/>
            <pc:sldMk cId="1389233283" sldId="273"/>
            <ac:spMk id="32" creationId="{9198BCBE-37BF-7F9B-C56E-80686A4D61A6}"/>
          </ac:spMkLst>
        </pc:spChg>
        <pc:picChg chg="add mod">
          <ac:chgData name="Frank Sylla" userId="32483385abff8a62" providerId="LiveId" clId="{619E1CD5-9D16-45DA-8535-5D202E39A6AF}" dt="2023-01-06T20:05:33.239" v="906" actId="14100"/>
          <ac:picMkLst>
            <pc:docMk/>
            <pc:sldMk cId="1389233283" sldId="273"/>
            <ac:picMk id="3" creationId="{6BF2C697-9D4A-3BEC-9E86-E03D48094A40}"/>
          </ac:picMkLst>
        </pc:picChg>
        <pc:picChg chg="add del mod ord">
          <ac:chgData name="Frank Sylla" userId="32483385abff8a62" providerId="LiveId" clId="{619E1CD5-9D16-45DA-8535-5D202E39A6AF}" dt="2023-01-06T19:46:59.339" v="463" actId="478"/>
          <ac:picMkLst>
            <pc:docMk/>
            <pc:sldMk cId="1389233283" sldId="273"/>
            <ac:picMk id="5" creationId="{BC84915C-B574-1A8F-1F96-DA312CC5AD2F}"/>
          </ac:picMkLst>
        </pc:picChg>
        <pc:picChg chg="add del mod ord">
          <ac:chgData name="Frank Sylla" userId="32483385abff8a62" providerId="LiveId" clId="{619E1CD5-9D16-45DA-8535-5D202E39A6AF}" dt="2023-01-06T19:47:13.250" v="466" actId="478"/>
          <ac:picMkLst>
            <pc:docMk/>
            <pc:sldMk cId="1389233283" sldId="273"/>
            <ac:picMk id="6" creationId="{FA5DDD62-6041-A58D-B89C-A73BB277E632}"/>
          </ac:picMkLst>
        </pc:picChg>
        <pc:picChg chg="add del mod">
          <ac:chgData name="Frank Sylla" userId="32483385abff8a62" providerId="LiveId" clId="{619E1CD5-9D16-45DA-8535-5D202E39A6AF}" dt="2023-01-06T20:01:16.316" v="851" actId="21"/>
          <ac:picMkLst>
            <pc:docMk/>
            <pc:sldMk cId="1389233283" sldId="273"/>
            <ac:picMk id="8" creationId="{0982233F-1D54-DB8D-B934-40D0671C03EF}"/>
          </ac:picMkLst>
        </pc:picChg>
        <pc:picChg chg="add del mod ord">
          <ac:chgData name="Frank Sylla" userId="32483385abff8a62" providerId="LiveId" clId="{619E1CD5-9D16-45DA-8535-5D202E39A6AF}" dt="2023-01-06T19:45:53.443" v="455" actId="478"/>
          <ac:picMkLst>
            <pc:docMk/>
            <pc:sldMk cId="1389233283" sldId="273"/>
            <ac:picMk id="9" creationId="{85EC2258-E56B-BB1D-1A97-A144B74B4046}"/>
          </ac:picMkLst>
        </pc:picChg>
        <pc:picChg chg="add mod">
          <ac:chgData name="Frank Sylla" userId="32483385abff8a62" providerId="LiveId" clId="{619E1CD5-9D16-45DA-8535-5D202E39A6AF}" dt="2023-01-06T20:01:22.069" v="855" actId="1076"/>
          <ac:picMkLst>
            <pc:docMk/>
            <pc:sldMk cId="1389233283" sldId="273"/>
            <ac:picMk id="11" creationId="{CAF027F8-A750-3B8F-2725-BE9097B89037}"/>
          </ac:picMkLst>
        </pc:picChg>
        <pc:picChg chg="add del mod">
          <ac:chgData name="Frank Sylla" userId="32483385abff8a62" providerId="LiveId" clId="{619E1CD5-9D16-45DA-8535-5D202E39A6AF}" dt="2023-01-06T20:01:41.980" v="857" actId="478"/>
          <ac:picMkLst>
            <pc:docMk/>
            <pc:sldMk cId="1389233283" sldId="273"/>
            <ac:picMk id="13" creationId="{FD172238-9338-7876-8382-FB2EA71C5CED}"/>
          </ac:picMkLst>
        </pc:picChg>
      </pc:sldChg>
      <pc:sldChg chg="addSp delSp modSp new mod modClrScheme chgLayout">
        <pc:chgData name="Frank Sylla" userId="32483385abff8a62" providerId="LiveId" clId="{619E1CD5-9D16-45DA-8535-5D202E39A6AF}" dt="2023-01-07T19:56:34.546" v="2274" actId="403"/>
        <pc:sldMkLst>
          <pc:docMk/>
          <pc:sldMk cId="434289721" sldId="274"/>
        </pc:sldMkLst>
        <pc:spChg chg="del">
          <ac:chgData name="Frank Sylla" userId="32483385abff8a62" providerId="LiveId" clId="{619E1CD5-9D16-45DA-8535-5D202E39A6AF}" dt="2023-01-06T21:02:20.337" v="912" actId="26606"/>
          <ac:spMkLst>
            <pc:docMk/>
            <pc:sldMk cId="434289721" sldId="274"/>
            <ac:spMk id="2" creationId="{12D4AD2B-282A-4939-E9DA-0BE1F60B140E}"/>
          </ac:spMkLst>
        </pc:spChg>
        <pc:spChg chg="add del mod">
          <ac:chgData name="Frank Sylla" userId="32483385abff8a62" providerId="LiveId" clId="{619E1CD5-9D16-45DA-8535-5D202E39A6AF}" dt="2023-01-07T11:20:02.905" v="1612" actId="478"/>
          <ac:spMkLst>
            <pc:docMk/>
            <pc:sldMk cId="434289721" sldId="274"/>
            <ac:spMk id="4" creationId="{E1063B45-9A0B-DCE2-5D8A-A1B60F4FEE73}"/>
          </ac:spMkLst>
        </pc:spChg>
        <pc:spChg chg="add mod">
          <ac:chgData name="Frank Sylla" userId="32483385abff8a62" providerId="LiveId" clId="{619E1CD5-9D16-45DA-8535-5D202E39A6AF}" dt="2023-01-07T19:56:24.777" v="2270" actId="403"/>
          <ac:spMkLst>
            <pc:docMk/>
            <pc:sldMk cId="434289721" sldId="274"/>
            <ac:spMk id="7" creationId="{4C831B6E-7928-ACDC-8736-809750756FBF}"/>
          </ac:spMkLst>
        </pc:spChg>
        <pc:spChg chg="add mod">
          <ac:chgData name="Frank Sylla" userId="32483385abff8a62" providerId="LiveId" clId="{619E1CD5-9D16-45DA-8535-5D202E39A6AF}" dt="2023-01-07T11:10:20.472" v="1287" actId="26606"/>
          <ac:spMkLst>
            <pc:docMk/>
            <pc:sldMk cId="434289721" sldId="274"/>
            <ac:spMk id="10" creationId="{7F3AA16F-2273-35FE-6E90-13D4A353DCFA}"/>
          </ac:spMkLst>
        </pc:spChg>
        <pc:spChg chg="add mod">
          <ac:chgData name="Frank Sylla" userId="32483385abff8a62" providerId="LiveId" clId="{619E1CD5-9D16-45DA-8535-5D202E39A6AF}" dt="2023-01-07T19:56:34.546" v="2274" actId="403"/>
          <ac:spMkLst>
            <pc:docMk/>
            <pc:sldMk cId="434289721" sldId="274"/>
            <ac:spMk id="15" creationId="{D30A7D30-311C-F8C2-7D81-ABE5131EE29D}"/>
          </ac:spMkLst>
        </pc:spChg>
        <pc:picChg chg="add del mod ord">
          <ac:chgData name="Frank Sylla" userId="32483385abff8a62" providerId="LiveId" clId="{619E1CD5-9D16-45DA-8535-5D202E39A6AF}" dt="2023-01-07T11:10:52.243" v="1297" actId="478"/>
          <ac:picMkLst>
            <pc:docMk/>
            <pc:sldMk cId="434289721" sldId="274"/>
            <ac:picMk id="3" creationId="{FE2FF687-1718-1599-97FF-20989136A8AF}"/>
          </ac:picMkLst>
        </pc:picChg>
        <pc:picChg chg="add del mod">
          <ac:chgData name="Frank Sylla" userId="32483385abff8a62" providerId="LiveId" clId="{619E1CD5-9D16-45DA-8535-5D202E39A6AF}" dt="2023-01-07T11:09:16.088" v="1285" actId="478"/>
          <ac:picMkLst>
            <pc:docMk/>
            <pc:sldMk cId="434289721" sldId="274"/>
            <ac:picMk id="5" creationId="{28AB8F66-8EA8-04B6-26F9-BD395D61206E}"/>
          </ac:picMkLst>
        </pc:picChg>
        <pc:picChg chg="add mod">
          <ac:chgData name="Frank Sylla" userId="32483385abff8a62" providerId="LiveId" clId="{619E1CD5-9D16-45DA-8535-5D202E39A6AF}" dt="2023-01-07T11:10:41.606" v="1291" actId="1076"/>
          <ac:picMkLst>
            <pc:docMk/>
            <pc:sldMk cId="434289721" sldId="274"/>
            <ac:picMk id="6" creationId="{756DE26C-2EE4-CF9B-1591-F57BB9087646}"/>
          </ac:picMkLst>
        </pc:picChg>
      </pc:sldChg>
      <pc:sldChg chg="addSp delSp modSp new mod modClrScheme chgLayout">
        <pc:chgData name="Frank Sylla" userId="32483385abff8a62" providerId="LiveId" clId="{619E1CD5-9D16-45DA-8535-5D202E39A6AF}" dt="2023-01-06T21:14:28.892" v="1228" actId="1076"/>
        <pc:sldMkLst>
          <pc:docMk/>
          <pc:sldMk cId="3669849858" sldId="275"/>
        </pc:sldMkLst>
        <pc:spChg chg="del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2" creationId="{1636B6D2-28EF-4B78-AEED-7D4BF09C0CA0}"/>
          </ac:spMkLst>
        </pc:spChg>
        <pc:spChg chg="del mod ord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3" creationId="{2B31C4FB-8CFA-0AB1-F2DD-84BEA10F66E0}"/>
          </ac:spMkLst>
        </pc:spChg>
        <pc:spChg chg="del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4" creationId="{84B4B0A2-DED7-1D1A-C287-3569CFFD9A85}"/>
          </ac:spMkLst>
        </pc:spChg>
        <pc:spChg chg="add mod ord">
          <ac:chgData name="Frank Sylla" userId="32483385abff8a62" providerId="LiveId" clId="{619E1CD5-9D16-45DA-8535-5D202E39A6AF}" dt="2023-01-06T21:12:26.690" v="1157" actId="20577"/>
          <ac:spMkLst>
            <pc:docMk/>
            <pc:sldMk cId="3669849858" sldId="275"/>
            <ac:spMk id="5" creationId="{E9B31D95-13AD-4636-1E2B-D8C37BD40B51}"/>
          </ac:spMkLst>
        </pc:spChg>
        <pc:spChg chg="add del mod">
          <ac:chgData name="Frank Sylla" userId="32483385abff8a62" providerId="LiveId" clId="{619E1CD5-9D16-45DA-8535-5D202E39A6AF}" dt="2023-01-06T21:12:18.063" v="1156" actId="26606"/>
          <ac:spMkLst>
            <pc:docMk/>
            <pc:sldMk cId="3669849858" sldId="275"/>
            <ac:spMk id="6" creationId="{23B651C1-D2B4-9ABA-BDA9-CA984A059873}"/>
          </ac:spMkLst>
        </pc:spChg>
        <pc:picChg chg="add mod modCrop">
          <ac:chgData name="Frank Sylla" userId="32483385abff8a62" providerId="LiveId" clId="{619E1CD5-9D16-45DA-8535-5D202E39A6AF}" dt="2023-01-06T21:14:28.892" v="1228" actId="1076"/>
          <ac:picMkLst>
            <pc:docMk/>
            <pc:sldMk cId="3669849858" sldId="275"/>
            <ac:picMk id="2" creationId="{94982DDC-B4A1-30F9-BAED-5195AEF3B321}"/>
          </ac:picMkLst>
        </pc:picChg>
        <pc:picChg chg="add mod modCrop">
          <ac:chgData name="Frank Sylla" userId="32483385abff8a62" providerId="LiveId" clId="{619E1CD5-9D16-45DA-8535-5D202E39A6AF}" dt="2023-01-06T21:14:15.296" v="1225" actId="1036"/>
          <ac:picMkLst>
            <pc:docMk/>
            <pc:sldMk cId="3669849858" sldId="275"/>
            <ac:picMk id="3" creationId="{DB34087D-8078-3C4E-298D-25157B8C27E8}"/>
          </ac:picMkLst>
        </pc:picChg>
      </pc:sldChg>
      <pc:sldChg chg="addSp delSp modSp add del mod ord modClrScheme chgLayout">
        <pc:chgData name="Frank Sylla" userId="32483385abff8a62" providerId="LiveId" clId="{619E1CD5-9D16-45DA-8535-5D202E39A6AF}" dt="2023-01-06T21:02:29.895" v="913" actId="47"/>
        <pc:sldMkLst>
          <pc:docMk/>
          <pc:sldMk cId="1618706275" sldId="276"/>
        </pc:sldMkLst>
        <pc:spChg chg="del">
          <ac:chgData name="Frank Sylla" userId="32483385abff8a62" providerId="LiveId" clId="{619E1CD5-9D16-45DA-8535-5D202E39A6AF}" dt="2023-01-05T16:56:34.449" v="445" actId="26606"/>
          <ac:spMkLst>
            <pc:docMk/>
            <pc:sldMk cId="1618706275" sldId="276"/>
            <ac:spMk id="5" creationId="{E9B31D95-13AD-4636-1E2B-D8C37BD40B51}"/>
          </ac:spMkLst>
        </pc:spChg>
        <pc:spChg chg="add del mod">
          <ac:chgData name="Frank Sylla" userId="32483385abff8a62" providerId="LiveId" clId="{619E1CD5-9D16-45DA-8535-5D202E39A6AF}" dt="2023-01-05T16:56:46.281" v="448" actId="478"/>
          <ac:spMkLst>
            <pc:docMk/>
            <pc:sldMk cId="1618706275" sldId="276"/>
            <ac:spMk id="10" creationId="{31D8C2B7-01BB-C29E-022F-FA4330BBA107}"/>
          </ac:spMkLst>
        </pc:spChg>
        <pc:picChg chg="add del mod">
          <ac:chgData name="Frank Sylla" userId="32483385abff8a62" providerId="LiveId" clId="{619E1CD5-9D16-45DA-8535-5D202E39A6AF}" dt="2023-01-05T16:56:39.729" v="447" actId="478"/>
          <ac:picMkLst>
            <pc:docMk/>
            <pc:sldMk cId="1618706275" sldId="276"/>
            <ac:picMk id="2" creationId="{A7AB26E9-C1E8-1C24-2989-90D90B56D6EE}"/>
          </ac:picMkLst>
        </pc:picChg>
      </pc:sldChg>
      <pc:sldChg chg="add del">
        <pc:chgData name="Frank Sylla" userId="32483385abff8a62" providerId="LiveId" clId="{619E1CD5-9D16-45DA-8535-5D202E39A6AF}" dt="2023-01-07T20:37:36.741" v="2545" actId="47"/>
        <pc:sldMkLst>
          <pc:docMk/>
          <pc:sldMk cId="745912068" sldId="277"/>
        </pc:sldMkLst>
      </pc:sldChg>
      <pc:sldChg chg="addSp delSp modSp new del mod modClrScheme chgLayout">
        <pc:chgData name="Frank Sylla" userId="32483385abff8a62" providerId="LiveId" clId="{619E1CD5-9D16-45DA-8535-5D202E39A6AF}" dt="2023-01-07T11:08:40.215" v="1239" actId="2696"/>
        <pc:sldMkLst>
          <pc:docMk/>
          <pc:sldMk cId="1037258368" sldId="278"/>
        </pc:sldMkLst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2" creationId="{BD94A185-7C8F-22BA-8524-B6E4079ECD00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3" creationId="{947C9EE8-B130-E336-ED34-3F811B40BF2C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4" creationId="{D1F72AD4-A48F-8B77-09A9-3D11FEAAE2F3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5" creationId="{0C5A57F9-31FD-FA16-181E-96D61C57C7BE}"/>
          </ac:spMkLst>
        </pc:spChg>
        <pc:spChg chg="del mod ord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6" creationId="{183682CF-B025-8DD9-5BF0-446629E08946}"/>
          </ac:spMkLst>
        </pc:spChg>
        <pc:spChg chg="add mod ord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7" creationId="{5638366F-CE8F-A8E5-EF5D-A2186957C5F5}"/>
          </ac:spMkLst>
        </pc:spChg>
        <pc:spChg chg="add mod">
          <ac:chgData name="Frank Sylla" userId="32483385abff8a62" providerId="LiveId" clId="{619E1CD5-9D16-45DA-8535-5D202E39A6AF}" dt="2023-01-06T19:59:55.632" v="757" actId="1076"/>
          <ac:spMkLst>
            <pc:docMk/>
            <pc:sldMk cId="1037258368" sldId="278"/>
            <ac:spMk id="8" creationId="{A0B7E588-51F3-0269-F9B1-42DA1AC3ECDA}"/>
          </ac:spMkLst>
        </pc:spChg>
        <pc:spChg chg="add del mod">
          <ac:chgData name="Frank Sylla" userId="32483385abff8a62" providerId="LiveId" clId="{619E1CD5-9D16-45DA-8535-5D202E39A6AF}" dt="2023-01-06T20:06:02.617" v="909" actId="478"/>
          <ac:spMkLst>
            <pc:docMk/>
            <pc:sldMk cId="1037258368" sldId="278"/>
            <ac:spMk id="9" creationId="{5AFD2630-9983-5B74-9ABB-E2F24BE20B50}"/>
          </ac:spMkLst>
        </pc:spChg>
        <pc:picChg chg="add del mod">
          <ac:chgData name="Frank Sylla" userId="32483385abff8a62" providerId="LiveId" clId="{619E1CD5-9D16-45DA-8535-5D202E39A6AF}" dt="2023-01-06T20:06:00.130" v="907" actId="478"/>
          <ac:picMkLst>
            <pc:docMk/>
            <pc:sldMk cId="1037258368" sldId="278"/>
            <ac:picMk id="10" creationId="{2B47D774-0183-D628-EB68-442C8E9E8017}"/>
          </ac:picMkLst>
        </pc:picChg>
        <pc:picChg chg="add del mod">
          <ac:chgData name="Frank Sylla" userId="32483385abff8a62" providerId="LiveId" clId="{619E1CD5-9D16-45DA-8535-5D202E39A6AF}" dt="2023-01-06T20:06:03.200" v="910" actId="478"/>
          <ac:picMkLst>
            <pc:docMk/>
            <pc:sldMk cId="1037258368" sldId="278"/>
            <ac:picMk id="11" creationId="{3CE45EC8-8ED6-F6F0-F748-2DCC29517B38}"/>
          </ac:picMkLst>
        </pc:picChg>
      </pc:sldChg>
      <pc:sldChg chg="addSp delSp modSp new del mod modClrScheme chgLayout">
        <pc:chgData name="Frank Sylla" userId="32483385abff8a62" providerId="LiveId" clId="{619E1CD5-9D16-45DA-8535-5D202E39A6AF}" dt="2023-01-06T21:04:58.968" v="923" actId="47"/>
        <pc:sldMkLst>
          <pc:docMk/>
          <pc:sldMk cId="385565309" sldId="279"/>
        </pc:sldMkLst>
        <pc:spChg chg="del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2" creationId="{E320EBCD-E50E-6D58-20E7-20CFDA889EB6}"/>
          </ac:spMkLst>
        </pc:spChg>
        <pc:spChg chg="del mod ord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3" creationId="{8D203F9A-CC0E-F7AD-DA09-F371F14E7452}"/>
          </ac:spMkLst>
        </pc:spChg>
        <pc:spChg chg="del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4" creationId="{3E36FAF7-DA98-D2DA-6650-CEFAC07C5EB5}"/>
          </ac:spMkLst>
        </pc:spChg>
        <pc:spChg chg="add del mod ord">
          <ac:chgData name="Frank Sylla" userId="32483385abff8a62" providerId="LiveId" clId="{619E1CD5-9D16-45DA-8535-5D202E39A6AF}" dt="2023-01-06T21:04:10.135" v="916"/>
          <ac:spMkLst>
            <pc:docMk/>
            <pc:sldMk cId="385565309" sldId="279"/>
            <ac:spMk id="5" creationId="{A9D4AA69-9244-99A9-F743-2FDF38939345}"/>
          </ac:spMkLst>
        </pc:spChg>
        <pc:spChg chg="add mod">
          <ac:chgData name="Frank Sylla" userId="32483385abff8a62" providerId="LiveId" clId="{619E1CD5-9D16-45DA-8535-5D202E39A6AF}" dt="2023-01-06T21:04:10.135" v="916"/>
          <ac:spMkLst>
            <pc:docMk/>
            <pc:sldMk cId="385565309" sldId="279"/>
            <ac:spMk id="6" creationId="{B794E157-4316-4C58-81B5-E9FEC88A4229}"/>
          </ac:spMkLst>
        </pc:spChg>
        <pc:spChg chg="add del mod">
          <ac:chgData name="Frank Sylla" userId="32483385abff8a62" providerId="LiveId" clId="{619E1CD5-9D16-45DA-8535-5D202E39A6AF}" dt="2023-01-06T21:04:15.053" v="918" actId="478"/>
          <ac:spMkLst>
            <pc:docMk/>
            <pc:sldMk cId="385565309" sldId="279"/>
            <ac:spMk id="7" creationId="{B794E157-4316-4C58-81B5-E9FEC88A4229}"/>
          </ac:spMkLst>
        </pc:spChg>
      </pc:sldChg>
      <pc:sldChg chg="addSp delSp modSp add del mod ord">
        <pc:chgData name="Frank Sylla" userId="32483385abff8a62" providerId="LiveId" clId="{619E1CD5-9D16-45DA-8535-5D202E39A6AF}" dt="2023-01-06T20:04:00.663" v="875" actId="47"/>
        <pc:sldMkLst>
          <pc:docMk/>
          <pc:sldMk cId="1718134901" sldId="279"/>
        </pc:sldMkLst>
        <pc:spChg chg="add mod">
          <ac:chgData name="Frank Sylla" userId="32483385abff8a62" providerId="LiveId" clId="{619E1CD5-9D16-45DA-8535-5D202E39A6AF}" dt="2023-01-06T20:03:45.790" v="874" actId="20577"/>
          <ac:spMkLst>
            <pc:docMk/>
            <pc:sldMk cId="1718134901" sldId="279"/>
            <ac:spMk id="5" creationId="{311C3EB1-7E86-60AB-7970-7A2EA4E9969F}"/>
          </ac:spMkLst>
        </pc:spChg>
        <pc:picChg chg="add del mod">
          <ac:chgData name="Frank Sylla" userId="32483385abff8a62" providerId="LiveId" clId="{619E1CD5-9D16-45DA-8535-5D202E39A6AF}" dt="2023-01-06T20:03:08.651" v="867" actId="478"/>
          <ac:picMkLst>
            <pc:docMk/>
            <pc:sldMk cId="1718134901" sldId="279"/>
            <ac:picMk id="2" creationId="{2EF10F57-8C88-E42A-9ED9-AA0F5DAF9219}"/>
          </ac:picMkLst>
        </pc:picChg>
        <pc:picChg chg="add mod">
          <ac:chgData name="Frank Sylla" userId="32483385abff8a62" providerId="LiveId" clId="{619E1CD5-9D16-45DA-8535-5D202E39A6AF}" dt="2023-01-06T20:03:29.071" v="868" actId="931"/>
          <ac:picMkLst>
            <pc:docMk/>
            <pc:sldMk cId="1718134901" sldId="279"/>
            <ac:picMk id="4" creationId="{A4D3C11D-AB1F-757E-BFD3-E132E52011F4}"/>
          </ac:picMkLst>
        </pc:picChg>
        <pc:picChg chg="del">
          <ac:chgData name="Frank Sylla" userId="32483385abff8a62" providerId="LiveId" clId="{619E1CD5-9D16-45DA-8535-5D202E39A6AF}" dt="2023-01-06T20:02:29.411" v="865" actId="478"/>
          <ac:picMkLst>
            <pc:docMk/>
            <pc:sldMk cId="1718134901" sldId="279"/>
            <ac:picMk id="7" creationId="{AC4A9A35-0EDE-BEBE-3352-3786DEA09EA6}"/>
          </ac:picMkLst>
        </pc:picChg>
      </pc:sldChg>
      <pc:sldChg chg="addSp delSp modSp new mod">
        <pc:chgData name="Frank Sylla" userId="32483385abff8a62" providerId="LiveId" clId="{619E1CD5-9D16-45DA-8535-5D202E39A6AF}" dt="2023-01-07T20:34:50.669" v="2543" actId="478"/>
        <pc:sldMkLst>
          <pc:docMk/>
          <pc:sldMk cId="2832481522" sldId="280"/>
        </pc:sldMkLst>
        <pc:spChg chg="mod">
          <ac:chgData name="Frank Sylla" userId="32483385abff8a62" providerId="LiveId" clId="{619E1CD5-9D16-45DA-8535-5D202E39A6AF}" dt="2023-01-06T21:05:09.662" v="936" actId="20577"/>
          <ac:spMkLst>
            <pc:docMk/>
            <pc:sldMk cId="2832481522" sldId="280"/>
            <ac:spMk id="2" creationId="{ADCDC8FB-4E1E-68D6-BFCB-90D31CA82621}"/>
          </ac:spMkLst>
        </pc:spChg>
        <pc:spChg chg="add mod">
          <ac:chgData name="Frank Sylla" userId="32483385abff8a62" providerId="LiveId" clId="{619E1CD5-9D16-45DA-8535-5D202E39A6AF}" dt="2023-01-07T11:36:00.466" v="1986" actId="14100"/>
          <ac:spMkLst>
            <pc:docMk/>
            <pc:sldMk cId="2832481522" sldId="280"/>
            <ac:spMk id="3" creationId="{DEEA103E-E737-FFCD-540D-CDDCA57A6906}"/>
          </ac:spMkLst>
        </pc:spChg>
        <pc:spChg chg="add mod">
          <ac:chgData name="Frank Sylla" userId="32483385abff8a62" providerId="LiveId" clId="{619E1CD5-9D16-45DA-8535-5D202E39A6AF}" dt="2023-01-07T20:22:20.565" v="2351" actId="1076"/>
          <ac:spMkLst>
            <pc:docMk/>
            <pc:sldMk cId="2832481522" sldId="280"/>
            <ac:spMk id="4" creationId="{E49FA687-7F4D-2ECF-B06C-68A19137110F}"/>
          </ac:spMkLst>
        </pc:spChg>
        <pc:spChg chg="add del mod">
          <ac:chgData name="Frank Sylla" userId="32483385abff8a62" providerId="LiveId" clId="{619E1CD5-9D16-45DA-8535-5D202E39A6AF}" dt="2023-01-07T11:24:58.054" v="1768" actId="478"/>
          <ac:spMkLst>
            <pc:docMk/>
            <pc:sldMk cId="2832481522" sldId="280"/>
            <ac:spMk id="5" creationId="{73B58634-6930-0065-D91F-12E0A008D315}"/>
          </ac:spMkLst>
        </pc:spChg>
        <pc:spChg chg="add mod">
          <ac:chgData name="Frank Sylla" userId="32483385abff8a62" providerId="LiveId" clId="{619E1CD5-9D16-45DA-8535-5D202E39A6AF}" dt="2023-01-07T20:34:24.017" v="2530" actId="14100"/>
          <ac:spMkLst>
            <pc:docMk/>
            <pc:sldMk cId="2832481522" sldId="280"/>
            <ac:spMk id="6" creationId="{36B3EFDA-3248-BF42-A34C-5DCA37E1E172}"/>
          </ac:spMkLst>
        </pc:spChg>
        <pc:spChg chg="add mod">
          <ac:chgData name="Frank Sylla" userId="32483385abff8a62" providerId="LiveId" clId="{619E1CD5-9D16-45DA-8535-5D202E39A6AF}" dt="2023-01-07T11:29:25.653" v="1881" actId="1076"/>
          <ac:spMkLst>
            <pc:docMk/>
            <pc:sldMk cId="2832481522" sldId="280"/>
            <ac:spMk id="13" creationId="{F4322CAE-B604-92CB-441F-A9EF166AEAF5}"/>
          </ac:spMkLst>
        </pc:spChg>
        <pc:spChg chg="add mod">
          <ac:chgData name="Frank Sylla" userId="32483385abff8a62" providerId="LiveId" clId="{619E1CD5-9D16-45DA-8535-5D202E39A6AF}" dt="2023-01-07T11:36:04.766" v="1987" actId="14100"/>
          <ac:spMkLst>
            <pc:docMk/>
            <pc:sldMk cId="2832481522" sldId="280"/>
            <ac:spMk id="14" creationId="{5EB63A8C-2DFF-F5B3-A53C-2504CD24E3B0}"/>
          </ac:spMkLst>
        </pc:spChg>
        <pc:spChg chg="add mod">
          <ac:chgData name="Frank Sylla" userId="32483385abff8a62" providerId="LiveId" clId="{619E1CD5-9D16-45DA-8535-5D202E39A6AF}" dt="2023-01-07T20:02:57.651" v="2278" actId="14100"/>
          <ac:spMkLst>
            <pc:docMk/>
            <pc:sldMk cId="2832481522" sldId="280"/>
            <ac:spMk id="15" creationId="{841B3D65-2734-2062-FD89-F2C58C74FD11}"/>
          </ac:spMkLst>
        </pc:spChg>
        <pc:spChg chg="add del mod">
          <ac:chgData name="Frank Sylla" userId="32483385abff8a62" providerId="LiveId" clId="{619E1CD5-9D16-45DA-8535-5D202E39A6AF}" dt="2023-01-07T11:24:56.645" v="1767" actId="478"/>
          <ac:spMkLst>
            <pc:docMk/>
            <pc:sldMk cId="2832481522" sldId="280"/>
            <ac:spMk id="16" creationId="{DD73A859-5FDE-3581-6049-723842F9BBCD}"/>
          </ac:spMkLst>
        </pc:spChg>
        <pc:spChg chg="add mod">
          <ac:chgData name="Frank Sylla" userId="32483385abff8a62" providerId="LiveId" clId="{619E1CD5-9D16-45DA-8535-5D202E39A6AF}" dt="2023-01-07T20:34:28.935" v="2531" actId="14100"/>
          <ac:spMkLst>
            <pc:docMk/>
            <pc:sldMk cId="2832481522" sldId="280"/>
            <ac:spMk id="17" creationId="{F8BE611C-5D73-8ACF-2F26-B34A7FB456B9}"/>
          </ac:spMkLst>
        </pc:spChg>
        <pc:spChg chg="add mod">
          <ac:chgData name="Frank Sylla" userId="32483385abff8a62" providerId="LiveId" clId="{619E1CD5-9D16-45DA-8535-5D202E39A6AF}" dt="2023-01-07T11:33:42.481" v="1948" actId="14100"/>
          <ac:spMkLst>
            <pc:docMk/>
            <pc:sldMk cId="2832481522" sldId="280"/>
            <ac:spMk id="29" creationId="{F1386BB8-F201-CC9D-4B96-8DFF3165F539}"/>
          </ac:spMkLst>
        </pc:spChg>
        <pc:spChg chg="add mod">
          <ac:chgData name="Frank Sylla" userId="32483385abff8a62" providerId="LiveId" clId="{619E1CD5-9D16-45DA-8535-5D202E39A6AF}" dt="2023-01-07T11:33:54.028" v="1949" actId="14100"/>
          <ac:spMkLst>
            <pc:docMk/>
            <pc:sldMk cId="2832481522" sldId="280"/>
            <ac:spMk id="30" creationId="{81BC15D5-DBD9-48BE-9762-5F371FF4C634}"/>
          </ac:spMkLst>
        </pc:spChg>
        <pc:spChg chg="add mod">
          <ac:chgData name="Frank Sylla" userId="32483385abff8a62" providerId="LiveId" clId="{619E1CD5-9D16-45DA-8535-5D202E39A6AF}" dt="2023-01-07T11:34:58.390" v="1976" actId="14100"/>
          <ac:spMkLst>
            <pc:docMk/>
            <pc:sldMk cId="2832481522" sldId="280"/>
            <ac:spMk id="31" creationId="{DF5CC85D-6A3D-B903-7273-369354508BBA}"/>
          </ac:spMkLst>
        </pc:spChg>
        <pc:spChg chg="add del mod">
          <ac:chgData name="Frank Sylla" userId="32483385abff8a62" providerId="LiveId" clId="{619E1CD5-9D16-45DA-8535-5D202E39A6AF}" dt="2023-01-07T11:35:45.147" v="1979" actId="478"/>
          <ac:spMkLst>
            <pc:docMk/>
            <pc:sldMk cId="2832481522" sldId="280"/>
            <ac:spMk id="32" creationId="{312F3531-F545-CF23-8549-3FD8CB0CD900}"/>
          </ac:spMkLst>
        </pc:spChg>
        <pc:spChg chg="add mod">
          <ac:chgData name="Frank Sylla" userId="32483385abff8a62" providerId="LiveId" clId="{619E1CD5-9D16-45DA-8535-5D202E39A6AF}" dt="2023-01-07T20:19:07.777" v="2339" actId="14100"/>
          <ac:spMkLst>
            <pc:docMk/>
            <pc:sldMk cId="2832481522" sldId="280"/>
            <ac:spMk id="33" creationId="{396EB96A-CBEE-825F-B9E5-577E171D3A63}"/>
          </ac:spMkLst>
        </pc:spChg>
        <pc:spChg chg="add mod">
          <ac:chgData name="Frank Sylla" userId="32483385abff8a62" providerId="LiveId" clId="{619E1CD5-9D16-45DA-8535-5D202E39A6AF}" dt="2023-01-07T20:22:17.213" v="2349" actId="14100"/>
          <ac:spMkLst>
            <pc:docMk/>
            <pc:sldMk cId="2832481522" sldId="280"/>
            <ac:spMk id="34" creationId="{8EBAA7AC-EE27-D103-C66C-F162AC5A1D84}"/>
          </ac:spMkLst>
        </pc:spChg>
        <pc:spChg chg="add mod">
          <ac:chgData name="Frank Sylla" userId="32483385abff8a62" providerId="LiveId" clId="{619E1CD5-9D16-45DA-8535-5D202E39A6AF}" dt="2023-01-07T20:22:39.040" v="2354" actId="14100"/>
          <ac:spMkLst>
            <pc:docMk/>
            <pc:sldMk cId="2832481522" sldId="280"/>
            <ac:spMk id="35" creationId="{886C7EA8-55EC-0966-DCBB-2DC7BB8FF8ED}"/>
          </ac:spMkLst>
        </pc:spChg>
        <pc:spChg chg="add del mod">
          <ac:chgData name="Frank Sylla" userId="32483385abff8a62" providerId="LiveId" clId="{619E1CD5-9D16-45DA-8535-5D202E39A6AF}" dt="2023-01-07T11:25:00.658" v="1770" actId="478"/>
          <ac:spMkLst>
            <pc:docMk/>
            <pc:sldMk cId="2832481522" sldId="280"/>
            <ac:spMk id="36" creationId="{42866DA1-2195-E8EA-E410-B5E0CBEF2995}"/>
          </ac:spMkLst>
        </pc:spChg>
        <pc:spChg chg="add del mod">
          <ac:chgData name="Frank Sylla" userId="32483385abff8a62" providerId="LiveId" clId="{619E1CD5-9D16-45DA-8535-5D202E39A6AF}" dt="2023-01-07T11:25:00.111" v="1769" actId="478"/>
          <ac:spMkLst>
            <pc:docMk/>
            <pc:sldMk cId="2832481522" sldId="280"/>
            <ac:spMk id="37" creationId="{67E7C2ED-EB8D-C9AF-EB90-BAE63EB1527E}"/>
          </ac:spMkLst>
        </pc:spChg>
        <pc:spChg chg="add del mod">
          <ac:chgData name="Frank Sylla" userId="32483385abff8a62" providerId="LiveId" clId="{619E1CD5-9D16-45DA-8535-5D202E39A6AF}" dt="2023-01-07T11:25:02.006" v="1771" actId="478"/>
          <ac:spMkLst>
            <pc:docMk/>
            <pc:sldMk cId="2832481522" sldId="280"/>
            <ac:spMk id="38" creationId="{531580D4-189F-2A5A-E2DC-4A1DAC76494A}"/>
          </ac:spMkLst>
        </pc:spChg>
        <pc:spChg chg="add del mod">
          <ac:chgData name="Frank Sylla" userId="32483385abff8a62" providerId="LiveId" clId="{619E1CD5-9D16-45DA-8535-5D202E39A6AF}" dt="2023-01-07T11:25:06.139" v="1776" actId="478"/>
          <ac:spMkLst>
            <pc:docMk/>
            <pc:sldMk cId="2832481522" sldId="280"/>
            <ac:spMk id="39" creationId="{CBADA6B2-04C8-B848-1D08-C422C5B546E3}"/>
          </ac:spMkLst>
        </pc:spChg>
        <pc:spChg chg="add del mod">
          <ac:chgData name="Frank Sylla" userId="32483385abff8a62" providerId="LiveId" clId="{619E1CD5-9D16-45DA-8535-5D202E39A6AF}" dt="2023-01-07T11:25:09.640" v="1781" actId="478"/>
          <ac:spMkLst>
            <pc:docMk/>
            <pc:sldMk cId="2832481522" sldId="280"/>
            <ac:spMk id="40" creationId="{279E258A-D34D-3171-EFA0-BD82B89C83CE}"/>
          </ac:spMkLst>
        </pc:spChg>
        <pc:spChg chg="add del mod">
          <ac:chgData name="Frank Sylla" userId="32483385abff8a62" providerId="LiveId" clId="{619E1CD5-9D16-45DA-8535-5D202E39A6AF}" dt="2023-01-07T11:30:40.043" v="1909" actId="478"/>
          <ac:spMkLst>
            <pc:docMk/>
            <pc:sldMk cId="2832481522" sldId="280"/>
            <ac:spMk id="41" creationId="{3E059D77-4135-4500-E851-2749D98A62FC}"/>
          </ac:spMkLst>
        </pc:spChg>
        <pc:spChg chg="add del mod">
          <ac:chgData name="Frank Sylla" userId="32483385abff8a62" providerId="LiveId" clId="{619E1CD5-9D16-45DA-8535-5D202E39A6AF}" dt="2023-01-07T11:35:48.841" v="1983" actId="478"/>
          <ac:spMkLst>
            <pc:docMk/>
            <pc:sldMk cId="2832481522" sldId="280"/>
            <ac:spMk id="42" creationId="{FD1EAC16-95B7-D6DA-DDB6-1F226F22BBAD}"/>
          </ac:spMkLst>
        </pc:spChg>
        <pc:spChg chg="add mod">
          <ac:chgData name="Frank Sylla" userId="32483385abff8a62" providerId="LiveId" clId="{619E1CD5-9D16-45DA-8535-5D202E39A6AF}" dt="2023-01-07T20:13:05.710" v="2324" actId="1076"/>
          <ac:spMkLst>
            <pc:docMk/>
            <pc:sldMk cId="2832481522" sldId="280"/>
            <ac:spMk id="43" creationId="{6797DF7F-5AD7-3108-0DF9-CF9108901C5B}"/>
          </ac:spMkLst>
        </pc:spChg>
        <pc:spChg chg="add mod">
          <ac:chgData name="Frank Sylla" userId="32483385abff8a62" providerId="LiveId" clId="{619E1CD5-9D16-45DA-8535-5D202E39A6AF}" dt="2023-01-07T20:14:23.786" v="2327" actId="1076"/>
          <ac:spMkLst>
            <pc:docMk/>
            <pc:sldMk cId="2832481522" sldId="280"/>
            <ac:spMk id="44" creationId="{9F9E6D35-BB65-F1FE-BB8B-428C4F68577A}"/>
          </ac:spMkLst>
        </pc:spChg>
        <pc:spChg chg="add del mod">
          <ac:chgData name="Frank Sylla" userId="32483385abff8a62" providerId="LiveId" clId="{619E1CD5-9D16-45DA-8535-5D202E39A6AF}" dt="2023-01-07T11:39:43.882" v="2160" actId="478"/>
          <ac:spMkLst>
            <pc:docMk/>
            <pc:sldMk cId="2832481522" sldId="280"/>
            <ac:spMk id="45" creationId="{7E62C680-2956-6E55-E757-BC220E82CE79}"/>
          </ac:spMkLst>
        </pc:spChg>
        <pc:spChg chg="add del mod">
          <ac:chgData name="Frank Sylla" userId="32483385abff8a62" providerId="LiveId" clId="{619E1CD5-9D16-45DA-8535-5D202E39A6AF}" dt="2023-01-07T11:39:53.507" v="2161" actId="478"/>
          <ac:spMkLst>
            <pc:docMk/>
            <pc:sldMk cId="2832481522" sldId="280"/>
            <ac:spMk id="46" creationId="{A6898D94-0566-2332-DE90-382E56AC5576}"/>
          </ac:spMkLst>
        </pc:spChg>
        <pc:spChg chg="add mod">
          <ac:chgData name="Frank Sylla" userId="32483385abff8a62" providerId="LiveId" clId="{619E1CD5-9D16-45DA-8535-5D202E39A6AF}" dt="2023-01-07T20:14:42.680" v="2328" actId="1076"/>
          <ac:spMkLst>
            <pc:docMk/>
            <pc:sldMk cId="2832481522" sldId="280"/>
            <ac:spMk id="47" creationId="{ACC08C40-90FB-7499-7E22-280C6F0280A0}"/>
          </ac:spMkLst>
        </pc:spChg>
        <pc:spChg chg="add del mod">
          <ac:chgData name="Frank Sylla" userId="32483385abff8a62" providerId="LiveId" clId="{619E1CD5-9D16-45DA-8535-5D202E39A6AF}" dt="2023-01-07T11:25:07.831" v="1778" actId="478"/>
          <ac:spMkLst>
            <pc:docMk/>
            <pc:sldMk cId="2832481522" sldId="280"/>
            <ac:spMk id="48" creationId="{46FDD21F-5D82-930D-CA22-5BFA96FF87CE}"/>
          </ac:spMkLst>
        </pc:spChg>
        <pc:spChg chg="add del mod">
          <ac:chgData name="Frank Sylla" userId="32483385abff8a62" providerId="LiveId" clId="{619E1CD5-9D16-45DA-8535-5D202E39A6AF}" dt="2023-01-07T11:25:04.775" v="1774" actId="478"/>
          <ac:spMkLst>
            <pc:docMk/>
            <pc:sldMk cId="2832481522" sldId="280"/>
            <ac:spMk id="49" creationId="{F80DC39D-1E9D-2099-C64B-56EF8EA9D0B2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50" creationId="{0168B439-F636-F0B7-3E42-9FB5E27317E9}"/>
          </ac:spMkLst>
        </pc:spChg>
        <pc:spChg chg="add mod">
          <ac:chgData name="Frank Sylla" userId="32483385abff8a62" providerId="LiveId" clId="{619E1CD5-9D16-45DA-8535-5D202E39A6AF}" dt="2023-01-07T20:33:40.911" v="2524" actId="1076"/>
          <ac:spMkLst>
            <pc:docMk/>
            <pc:sldMk cId="2832481522" sldId="280"/>
            <ac:spMk id="51" creationId="{C6C31533-045C-8E6C-BA3E-277D0F29A9A6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52" creationId="{261B46EB-2BB3-AA7B-7B85-5A988D6DD43A}"/>
          </ac:spMkLst>
        </pc:spChg>
        <pc:spChg chg="add del mod">
          <ac:chgData name="Frank Sylla" userId="32483385abff8a62" providerId="LiveId" clId="{619E1CD5-9D16-45DA-8535-5D202E39A6AF}" dt="2023-01-07T20:26:17.724" v="2407" actId="478"/>
          <ac:spMkLst>
            <pc:docMk/>
            <pc:sldMk cId="2832481522" sldId="280"/>
            <ac:spMk id="53" creationId="{D5CD2872-BB1E-29C6-2CE4-56B30E2BFA0F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54" creationId="{F99491C8-1BBA-C686-6043-0868B1B009B1}"/>
          </ac:spMkLst>
        </pc:spChg>
        <pc:spChg chg="add mod">
          <ac:chgData name="Frank Sylla" userId="32483385abff8a62" providerId="LiveId" clId="{619E1CD5-9D16-45DA-8535-5D202E39A6AF}" dt="2023-01-07T11:36:16.845" v="1988" actId="1076"/>
          <ac:spMkLst>
            <pc:docMk/>
            <pc:sldMk cId="2832481522" sldId="280"/>
            <ac:spMk id="55" creationId="{8FB027A5-D006-D04B-BDC7-DFFA600024E5}"/>
          </ac:spMkLst>
        </pc:spChg>
        <pc:spChg chg="add mod">
          <ac:chgData name="Frank Sylla" userId="32483385abff8a62" providerId="LiveId" clId="{619E1CD5-9D16-45DA-8535-5D202E39A6AF}" dt="2023-01-07T20:03:12.304" v="2279" actId="1076"/>
          <ac:spMkLst>
            <pc:docMk/>
            <pc:sldMk cId="2832481522" sldId="280"/>
            <ac:spMk id="56" creationId="{64667820-8805-1FDF-4AD1-C7C3440CDB3F}"/>
          </ac:spMkLst>
        </pc:spChg>
        <pc:spChg chg="add del mod">
          <ac:chgData name="Frank Sylla" userId="32483385abff8a62" providerId="LiveId" clId="{619E1CD5-9D16-45DA-8535-5D202E39A6AF}" dt="2023-01-07T11:24:55.122" v="1766" actId="478"/>
          <ac:spMkLst>
            <pc:docMk/>
            <pc:sldMk cId="2832481522" sldId="280"/>
            <ac:spMk id="57" creationId="{0E01BB88-FC77-937B-EB9E-0D8B3E421300}"/>
          </ac:spMkLst>
        </pc:spChg>
        <pc:spChg chg="add mod">
          <ac:chgData name="Frank Sylla" userId="32483385abff8a62" providerId="LiveId" clId="{619E1CD5-9D16-45DA-8535-5D202E39A6AF}" dt="2023-01-07T20:34:32.278" v="2532" actId="1076"/>
          <ac:spMkLst>
            <pc:docMk/>
            <pc:sldMk cId="2832481522" sldId="280"/>
            <ac:spMk id="58" creationId="{366141CA-73E0-64E5-A37C-98E0C6EEC618}"/>
          </ac:spMkLst>
        </pc:spChg>
        <pc:spChg chg="add mod">
          <ac:chgData name="Frank Sylla" userId="32483385abff8a62" providerId="LiveId" clId="{619E1CD5-9D16-45DA-8535-5D202E39A6AF}" dt="2023-01-06T21:06:50.757" v="949" actId="6549"/>
          <ac:spMkLst>
            <pc:docMk/>
            <pc:sldMk cId="2832481522" sldId="280"/>
            <ac:spMk id="59" creationId="{10FFADA9-C192-7D68-46BD-EAB8D2EBCE3D}"/>
          </ac:spMkLst>
        </pc:spChg>
        <pc:spChg chg="add del mod">
          <ac:chgData name="Frank Sylla" userId="32483385abff8a62" providerId="LiveId" clId="{619E1CD5-9D16-45DA-8535-5D202E39A6AF}" dt="2023-01-07T11:30:32.334" v="1907" actId="478"/>
          <ac:spMkLst>
            <pc:docMk/>
            <pc:sldMk cId="2832481522" sldId="280"/>
            <ac:spMk id="60" creationId="{6FADBA0D-960A-668E-38E9-390E3E6FB6F7}"/>
          </ac:spMkLst>
        </pc:spChg>
        <pc:spChg chg="add mod">
          <ac:chgData name="Frank Sylla" userId="32483385abff8a62" providerId="LiveId" clId="{619E1CD5-9D16-45DA-8535-5D202E39A6AF}" dt="2023-01-07T11:29:27.869" v="1884" actId="20577"/>
          <ac:spMkLst>
            <pc:docMk/>
            <pc:sldMk cId="2832481522" sldId="280"/>
            <ac:spMk id="61" creationId="{D671B4D0-004A-AEB9-95E4-60295C5896A3}"/>
          </ac:spMkLst>
        </pc:spChg>
        <pc:spChg chg="add del mod">
          <ac:chgData name="Frank Sylla" userId="32483385abff8a62" providerId="LiveId" clId="{619E1CD5-9D16-45DA-8535-5D202E39A6AF}" dt="2023-01-07T11:30:42.340" v="1910" actId="478"/>
          <ac:spMkLst>
            <pc:docMk/>
            <pc:sldMk cId="2832481522" sldId="280"/>
            <ac:spMk id="62" creationId="{297EB07E-7942-DE09-16AF-ABC9D756EE0D}"/>
          </ac:spMkLst>
        </pc:spChg>
        <pc:spChg chg="add mod">
          <ac:chgData name="Frank Sylla" userId="32483385abff8a62" providerId="LiveId" clId="{619E1CD5-9D16-45DA-8535-5D202E39A6AF}" dt="2023-01-07T11:29:30.604" v="1887" actId="20577"/>
          <ac:spMkLst>
            <pc:docMk/>
            <pc:sldMk cId="2832481522" sldId="280"/>
            <ac:spMk id="63" creationId="{F404407A-C81E-2A1A-D794-756E45EF85E1}"/>
          </ac:spMkLst>
        </pc:spChg>
        <pc:spChg chg="add del mod">
          <ac:chgData name="Frank Sylla" userId="32483385abff8a62" providerId="LiveId" clId="{619E1CD5-9D16-45DA-8535-5D202E39A6AF}" dt="2023-01-07T11:30:47.072" v="1911" actId="478"/>
          <ac:spMkLst>
            <pc:docMk/>
            <pc:sldMk cId="2832481522" sldId="280"/>
            <ac:spMk id="64" creationId="{9B6C6DC2-2D59-82F2-35A2-933EFC83173B}"/>
          </ac:spMkLst>
        </pc:spChg>
        <pc:spChg chg="add mod">
          <ac:chgData name="Frank Sylla" userId="32483385abff8a62" providerId="LiveId" clId="{619E1CD5-9D16-45DA-8535-5D202E39A6AF}" dt="2023-01-07T11:29:37.791" v="1893" actId="20577"/>
          <ac:spMkLst>
            <pc:docMk/>
            <pc:sldMk cId="2832481522" sldId="280"/>
            <ac:spMk id="65" creationId="{E476F500-DD74-35ED-119B-ABBCDDDAAAC3}"/>
          </ac:spMkLst>
        </pc:spChg>
        <pc:spChg chg="add del mod">
          <ac:chgData name="Frank Sylla" userId="32483385abff8a62" providerId="LiveId" clId="{619E1CD5-9D16-45DA-8535-5D202E39A6AF}" dt="2023-01-07T11:30:49.411" v="1912" actId="478"/>
          <ac:spMkLst>
            <pc:docMk/>
            <pc:sldMk cId="2832481522" sldId="280"/>
            <ac:spMk id="66" creationId="{FDABBEDE-1BA1-F248-8333-0B2EE1D6E543}"/>
          </ac:spMkLst>
        </pc:spChg>
        <pc:spChg chg="add mod">
          <ac:chgData name="Frank Sylla" userId="32483385abff8a62" providerId="LiveId" clId="{619E1CD5-9D16-45DA-8535-5D202E39A6AF}" dt="2023-01-07T20:25:45" v="2403" actId="20577"/>
          <ac:spMkLst>
            <pc:docMk/>
            <pc:sldMk cId="2832481522" sldId="280"/>
            <ac:spMk id="67" creationId="{277CB009-A16A-10F5-7E1C-50273FCC11E8}"/>
          </ac:spMkLst>
        </pc:spChg>
        <pc:spChg chg="add del mod">
          <ac:chgData name="Frank Sylla" userId="32483385abff8a62" providerId="LiveId" clId="{619E1CD5-9D16-45DA-8535-5D202E39A6AF}" dt="2023-01-07T11:30:51.629" v="1913" actId="478"/>
          <ac:spMkLst>
            <pc:docMk/>
            <pc:sldMk cId="2832481522" sldId="280"/>
            <ac:spMk id="68" creationId="{58F0C7BF-EA02-4E5B-719C-D491B727B944}"/>
          </ac:spMkLst>
        </pc:spChg>
        <pc:spChg chg="add mod">
          <ac:chgData name="Frank Sylla" userId="32483385abff8a62" providerId="LiveId" clId="{619E1CD5-9D16-45DA-8535-5D202E39A6AF}" dt="2023-01-07T11:29:48.373" v="1903" actId="20577"/>
          <ac:spMkLst>
            <pc:docMk/>
            <pc:sldMk cId="2832481522" sldId="280"/>
            <ac:spMk id="69" creationId="{71B5036F-0849-E68F-25C5-3A53709371FB}"/>
          </ac:spMkLst>
        </pc:spChg>
        <pc:spChg chg="add del mod">
          <ac:chgData name="Frank Sylla" userId="32483385abff8a62" providerId="LiveId" clId="{619E1CD5-9D16-45DA-8535-5D202E39A6AF}" dt="2023-01-07T11:30:14.779" v="1906" actId="478"/>
          <ac:spMkLst>
            <pc:docMk/>
            <pc:sldMk cId="2832481522" sldId="280"/>
            <ac:spMk id="70" creationId="{BE78F2E9-0DB3-0785-B7D5-783F990B7DA8}"/>
          </ac:spMkLst>
        </pc:spChg>
        <pc:spChg chg="add mod">
          <ac:chgData name="Frank Sylla" userId="32483385abff8a62" providerId="LiveId" clId="{619E1CD5-9D16-45DA-8535-5D202E39A6AF}" dt="2023-01-06T21:06:01.483" v="941" actId="6549"/>
          <ac:spMkLst>
            <pc:docMk/>
            <pc:sldMk cId="2832481522" sldId="280"/>
            <ac:spMk id="71" creationId="{F4412FA9-FC5B-AB08-AA6B-4AC311909D2B}"/>
          </ac:spMkLst>
        </pc:spChg>
        <pc:spChg chg="add mod">
          <ac:chgData name="Frank Sylla" userId="32483385abff8a62" providerId="LiveId" clId="{619E1CD5-9D16-45DA-8535-5D202E39A6AF}" dt="2023-01-07T11:33:38.275" v="1947" actId="1076"/>
          <ac:spMkLst>
            <pc:docMk/>
            <pc:sldMk cId="2832481522" sldId="280"/>
            <ac:spMk id="72" creationId="{73D126D5-12F8-0929-4052-B7A00D2D5B86}"/>
          </ac:spMkLst>
        </pc:spChg>
        <pc:spChg chg="add mod">
          <ac:chgData name="Frank Sylla" userId="32483385abff8a62" providerId="LiveId" clId="{619E1CD5-9D16-45DA-8535-5D202E39A6AF}" dt="2023-01-07T11:34:06.872" v="1951" actId="1076"/>
          <ac:spMkLst>
            <pc:docMk/>
            <pc:sldMk cId="2832481522" sldId="280"/>
            <ac:spMk id="73" creationId="{CE4DDD36-7A2B-3933-F10E-DC7BCBDCF7DE}"/>
          </ac:spMkLst>
        </pc:spChg>
        <pc:spChg chg="add mod">
          <ac:chgData name="Frank Sylla" userId="32483385abff8a62" providerId="LiveId" clId="{619E1CD5-9D16-45DA-8535-5D202E39A6AF}" dt="2023-01-07T11:35:14.323" v="1977" actId="1076"/>
          <ac:spMkLst>
            <pc:docMk/>
            <pc:sldMk cId="2832481522" sldId="280"/>
            <ac:spMk id="74" creationId="{CAA39DC5-FFC0-F20A-3EF8-03506F124453}"/>
          </ac:spMkLst>
        </pc:spChg>
        <pc:spChg chg="add del mod">
          <ac:chgData name="Frank Sylla" userId="32483385abff8a62" providerId="LiveId" clId="{619E1CD5-9D16-45DA-8535-5D202E39A6AF}" dt="2023-01-07T11:35:38.308" v="1978" actId="478"/>
          <ac:spMkLst>
            <pc:docMk/>
            <pc:sldMk cId="2832481522" sldId="280"/>
            <ac:spMk id="75" creationId="{89E8CEEB-BA3E-EA87-3987-0F003235DDBA}"/>
          </ac:spMkLst>
        </pc:spChg>
        <pc:spChg chg="add del mod">
          <ac:chgData name="Frank Sylla" userId="32483385abff8a62" providerId="LiveId" clId="{619E1CD5-9D16-45DA-8535-5D202E39A6AF}" dt="2023-01-07T11:35:50.593" v="1985" actId="478"/>
          <ac:spMkLst>
            <pc:docMk/>
            <pc:sldMk cId="2832481522" sldId="280"/>
            <ac:spMk id="76" creationId="{8A64896D-37BC-7F75-A5A9-D0BA057AEDB9}"/>
          </ac:spMkLst>
        </pc:spChg>
        <pc:spChg chg="add mod">
          <ac:chgData name="Frank Sylla" userId="32483385abff8a62" providerId="LiveId" clId="{619E1CD5-9D16-45DA-8535-5D202E39A6AF}" dt="2023-01-07T20:15:22.614" v="2332" actId="1076"/>
          <ac:spMkLst>
            <pc:docMk/>
            <pc:sldMk cId="2832481522" sldId="280"/>
            <ac:spMk id="77" creationId="{C161BB24-82AB-259F-3E83-ED2147AB2146}"/>
          </ac:spMkLst>
        </pc:spChg>
        <pc:spChg chg="add mod">
          <ac:chgData name="Frank Sylla" userId="32483385abff8a62" providerId="LiveId" clId="{619E1CD5-9D16-45DA-8535-5D202E39A6AF}" dt="2023-01-07T20:15:11.587" v="2331" actId="1076"/>
          <ac:spMkLst>
            <pc:docMk/>
            <pc:sldMk cId="2832481522" sldId="280"/>
            <ac:spMk id="78" creationId="{D0C5CD1D-4A80-38E0-16DC-F5CCEE5A4F40}"/>
          </ac:spMkLst>
        </pc:spChg>
        <pc:spChg chg="add del mod">
          <ac:chgData name="Frank Sylla" userId="32483385abff8a62" providerId="LiveId" clId="{619E1CD5-9D16-45DA-8535-5D202E39A6AF}" dt="2023-01-07T11:39:42.815" v="2159" actId="478"/>
          <ac:spMkLst>
            <pc:docMk/>
            <pc:sldMk cId="2832481522" sldId="280"/>
            <ac:spMk id="79" creationId="{EC0B7B9F-A406-B72A-91B0-E9F9769F85C2}"/>
          </ac:spMkLst>
        </pc:spChg>
        <pc:spChg chg="add del mod">
          <ac:chgData name="Frank Sylla" userId="32483385abff8a62" providerId="LiveId" clId="{619E1CD5-9D16-45DA-8535-5D202E39A6AF}" dt="2023-01-07T11:39:54.836" v="2162" actId="478"/>
          <ac:spMkLst>
            <pc:docMk/>
            <pc:sldMk cId="2832481522" sldId="280"/>
            <ac:spMk id="80" creationId="{6FB3D609-2F3B-34C5-B6AD-0A6B49388FD6}"/>
          </ac:spMkLst>
        </pc:spChg>
        <pc:spChg chg="add mod">
          <ac:chgData name="Frank Sylla" userId="32483385abff8a62" providerId="LiveId" clId="{619E1CD5-9D16-45DA-8535-5D202E39A6AF}" dt="2023-01-07T20:15:01.185" v="2330" actId="1076"/>
          <ac:spMkLst>
            <pc:docMk/>
            <pc:sldMk cId="2832481522" sldId="280"/>
            <ac:spMk id="81" creationId="{54938A4E-ED3A-2B5F-E71F-4B0C94890007}"/>
          </ac:spMkLst>
        </pc:spChg>
        <pc:spChg chg="add mod">
          <ac:chgData name="Frank Sylla" userId="32483385abff8a62" providerId="LiveId" clId="{619E1CD5-9D16-45DA-8535-5D202E39A6AF}" dt="2023-01-07T20:19:39.872" v="2342" actId="790"/>
          <ac:spMkLst>
            <pc:docMk/>
            <pc:sldMk cId="2832481522" sldId="280"/>
            <ac:spMk id="82" creationId="{660BDDBC-7DC5-C523-D16A-341500CDAD99}"/>
          </ac:spMkLst>
        </pc:spChg>
        <pc:spChg chg="add mod">
          <ac:chgData name="Frank Sylla" userId="32483385abff8a62" providerId="LiveId" clId="{619E1CD5-9D16-45DA-8535-5D202E39A6AF}" dt="2023-01-07T20:23:57.200" v="2363" actId="790"/>
          <ac:spMkLst>
            <pc:docMk/>
            <pc:sldMk cId="2832481522" sldId="280"/>
            <ac:spMk id="83" creationId="{B778905A-D300-AF5C-D389-93B6138A6234}"/>
          </ac:spMkLst>
        </pc:spChg>
        <pc:spChg chg="add mod">
          <ac:chgData name="Frank Sylla" userId="32483385abff8a62" providerId="LiveId" clId="{619E1CD5-9D16-45DA-8535-5D202E39A6AF}" dt="2023-01-07T20:24:25.417" v="2367" actId="313"/>
          <ac:spMkLst>
            <pc:docMk/>
            <pc:sldMk cId="2832481522" sldId="280"/>
            <ac:spMk id="84" creationId="{EE650C96-5883-A571-0DF5-3A81A2330D85}"/>
          </ac:spMkLst>
        </pc:spChg>
        <pc:spChg chg="add del mod">
          <ac:chgData name="Frank Sylla" userId="32483385abff8a62" providerId="LiveId" clId="{619E1CD5-9D16-45DA-8535-5D202E39A6AF}" dt="2023-01-07T20:24:41.436" v="2370" actId="478"/>
          <ac:spMkLst>
            <pc:docMk/>
            <pc:sldMk cId="2832481522" sldId="280"/>
            <ac:spMk id="85" creationId="{D280B992-3E5F-C3A1-4B70-04673A0F1438}"/>
          </ac:spMkLst>
        </pc:spChg>
        <pc:spChg chg="add del mod">
          <ac:chgData name="Frank Sylla" userId="32483385abff8a62" providerId="LiveId" clId="{619E1CD5-9D16-45DA-8535-5D202E39A6AF}" dt="2023-01-07T20:24:43.203" v="2371" actId="478"/>
          <ac:spMkLst>
            <pc:docMk/>
            <pc:sldMk cId="2832481522" sldId="280"/>
            <ac:spMk id="86" creationId="{948094D4-141C-6C43-D47B-9F01AE08B195}"/>
          </ac:spMkLst>
        </pc:spChg>
        <pc:spChg chg="add del mod">
          <ac:chgData name="Frank Sylla" userId="32483385abff8a62" providerId="LiveId" clId="{619E1CD5-9D16-45DA-8535-5D202E39A6AF}" dt="2023-01-07T20:24:39.448" v="2369" actId="478"/>
          <ac:spMkLst>
            <pc:docMk/>
            <pc:sldMk cId="2832481522" sldId="280"/>
            <ac:spMk id="87" creationId="{961806A8-53C0-B582-1F12-D804B51C662D}"/>
          </ac:spMkLst>
        </pc:spChg>
        <pc:spChg chg="add del mod">
          <ac:chgData name="Frank Sylla" userId="32483385abff8a62" providerId="LiveId" clId="{619E1CD5-9D16-45DA-8535-5D202E39A6AF}" dt="2023-01-07T11:25:05.521" v="1775" actId="478"/>
          <ac:spMkLst>
            <pc:docMk/>
            <pc:sldMk cId="2832481522" sldId="280"/>
            <ac:spMk id="88" creationId="{9D1C811A-4DB6-E23F-2128-0FFEE19F60B5}"/>
          </ac:spMkLst>
        </pc:spChg>
        <pc:spChg chg="add del mod">
          <ac:chgData name="Frank Sylla" userId="32483385abff8a62" providerId="LiveId" clId="{619E1CD5-9D16-45DA-8535-5D202E39A6AF}" dt="2023-01-07T11:25:07.113" v="1777" actId="478"/>
          <ac:spMkLst>
            <pc:docMk/>
            <pc:sldMk cId="2832481522" sldId="280"/>
            <ac:spMk id="89" creationId="{8085647B-9460-EF6D-4967-9BEE598D2458}"/>
          </ac:spMkLst>
        </pc:spChg>
        <pc:spChg chg="add del mod">
          <ac:chgData name="Frank Sylla" userId="32483385abff8a62" providerId="LiveId" clId="{619E1CD5-9D16-45DA-8535-5D202E39A6AF}" dt="2023-01-07T11:25:04.247" v="1773" actId="478"/>
          <ac:spMkLst>
            <pc:docMk/>
            <pc:sldMk cId="2832481522" sldId="280"/>
            <ac:spMk id="90" creationId="{4A5D664C-C18E-EC24-E71C-9FF532C0B0EF}"/>
          </ac:spMkLst>
        </pc:spChg>
        <pc:spChg chg="add del mod">
          <ac:chgData name="Frank Sylla" userId="32483385abff8a62" providerId="LiveId" clId="{619E1CD5-9D16-45DA-8535-5D202E39A6AF}" dt="2023-01-07T11:25:10.537" v="1782" actId="478"/>
          <ac:spMkLst>
            <pc:docMk/>
            <pc:sldMk cId="2832481522" sldId="280"/>
            <ac:spMk id="91" creationId="{37988457-E361-CB7A-E500-088042235384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92" creationId="{02AA15C0-B9AC-1CDF-5346-CBCFC57C3D0F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93" creationId="{3146CB80-78A7-F1EF-76DE-B7F860BE46FD}"/>
          </ac:spMkLst>
        </pc:spChg>
        <pc:spChg chg="add mod">
          <ac:chgData name="Frank Sylla" userId="32483385abff8a62" providerId="LiveId" clId="{619E1CD5-9D16-45DA-8535-5D202E39A6AF}" dt="2023-01-07T20:33:40.911" v="2524" actId="1076"/>
          <ac:spMkLst>
            <pc:docMk/>
            <pc:sldMk cId="2832481522" sldId="280"/>
            <ac:spMk id="94" creationId="{0A327D48-1ADB-13E4-D176-2F0D864C220F}"/>
          </ac:spMkLst>
        </pc:spChg>
        <pc:spChg chg="add mod">
          <ac:chgData name="Frank Sylla" userId="32483385abff8a62" providerId="LiveId" clId="{619E1CD5-9D16-45DA-8535-5D202E39A6AF}" dt="2023-01-07T20:33:59.885" v="2528" actId="1076"/>
          <ac:spMkLst>
            <pc:docMk/>
            <pc:sldMk cId="2832481522" sldId="280"/>
            <ac:spMk id="95" creationId="{3FA4646A-D0E0-F28D-F596-F8C81F5A07A4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96" creationId="{B7AFBEDD-89C8-2585-6270-EEF49D9DD230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97" creationId="{80CFA15C-B686-6E75-99B6-BED2F39F26D8}"/>
          </ac:spMkLst>
        </pc:spChg>
        <pc:spChg chg="add del mod">
          <ac:chgData name="Frank Sylla" userId="32483385abff8a62" providerId="LiveId" clId="{619E1CD5-9D16-45DA-8535-5D202E39A6AF}" dt="2023-01-07T20:26:17.126" v="2406" actId="478"/>
          <ac:spMkLst>
            <pc:docMk/>
            <pc:sldMk cId="2832481522" sldId="280"/>
            <ac:spMk id="98" creationId="{EBB3AA32-289C-A210-CE22-3ED40C022039}"/>
          </ac:spMkLst>
        </pc:spChg>
        <pc:spChg chg="add del mod">
          <ac:chgData name="Frank Sylla" userId="32483385abff8a62" providerId="LiveId" clId="{619E1CD5-9D16-45DA-8535-5D202E39A6AF}" dt="2023-01-07T20:26:18.881" v="2408" actId="478"/>
          <ac:spMkLst>
            <pc:docMk/>
            <pc:sldMk cId="2832481522" sldId="280"/>
            <ac:spMk id="99" creationId="{75F99BCC-419B-6485-50C8-452BA9BF751B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100" creationId="{2FA8CA96-4F2C-D688-B846-6FF85BE52EDA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101" creationId="{21216BB2-78BB-D923-676B-1280A47898EF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02" creationId="{9A141E13-26C5-64F4-3B92-B2CE6C8DD504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03" creationId="{6193A575-02C8-11BB-2A1F-471008B69362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04" creationId="{242E29C7-C98A-BE53-9343-A1D27EE55B97}"/>
          </ac:spMkLst>
        </pc:spChg>
        <pc:spChg chg="add del mod">
          <ac:chgData name="Frank Sylla" userId="32483385abff8a62" providerId="LiveId" clId="{619E1CD5-9D16-45DA-8535-5D202E39A6AF}" dt="2023-01-07T20:34:40.625" v="2533" actId="478"/>
          <ac:spMkLst>
            <pc:docMk/>
            <pc:sldMk cId="2832481522" sldId="280"/>
            <ac:spMk id="105" creationId="{E951F91E-CBF5-E1CD-242E-09D37D748B81}"/>
          </ac:spMkLst>
        </pc:spChg>
        <pc:spChg chg="add del mod">
          <ac:chgData name="Frank Sylla" userId="32483385abff8a62" providerId="LiveId" clId="{619E1CD5-9D16-45DA-8535-5D202E39A6AF}" dt="2023-01-07T20:34:46.840" v="2539" actId="478"/>
          <ac:spMkLst>
            <pc:docMk/>
            <pc:sldMk cId="2832481522" sldId="280"/>
            <ac:spMk id="106" creationId="{55D8AA14-E6AA-B39E-3654-129E90F2D23B}"/>
          </ac:spMkLst>
        </pc:spChg>
        <pc:spChg chg="add mod">
          <ac:chgData name="Frank Sylla" userId="32483385abff8a62" providerId="LiveId" clId="{619E1CD5-9D16-45DA-8535-5D202E39A6AF}" dt="2023-01-07T20:04:44.030" v="2301" actId="1076"/>
          <ac:spMkLst>
            <pc:docMk/>
            <pc:sldMk cId="2832481522" sldId="280"/>
            <ac:spMk id="107" creationId="{B1745942-A7D1-9384-8B66-CA7FE042F6B4}"/>
          </ac:spMkLst>
        </pc:spChg>
        <pc:spChg chg="add del mod">
          <ac:chgData name="Frank Sylla" userId="32483385abff8a62" providerId="LiveId" clId="{619E1CD5-9D16-45DA-8535-5D202E39A6AF}" dt="2023-01-07T11:35:46.169" v="1980" actId="478"/>
          <ac:spMkLst>
            <pc:docMk/>
            <pc:sldMk cId="2832481522" sldId="280"/>
            <ac:spMk id="108" creationId="{0C75C59E-FF22-8218-35D6-AA0E4B91E189}"/>
          </ac:spMkLst>
        </pc:spChg>
        <pc:spChg chg="add del mod">
          <ac:chgData name="Frank Sylla" userId="32483385abff8a62" providerId="LiveId" clId="{619E1CD5-9D16-45DA-8535-5D202E39A6AF}" dt="2023-01-07T11:35:47.113" v="1981" actId="478"/>
          <ac:spMkLst>
            <pc:docMk/>
            <pc:sldMk cId="2832481522" sldId="280"/>
            <ac:spMk id="109" creationId="{A7BE0D26-67E0-62C7-CA62-F9E72F62C652}"/>
          </ac:spMkLst>
        </pc:spChg>
        <pc:spChg chg="add del mod">
          <ac:chgData name="Frank Sylla" userId="32483385abff8a62" providerId="LiveId" clId="{619E1CD5-9D16-45DA-8535-5D202E39A6AF}" dt="2023-01-07T11:35:48.046" v="1982" actId="478"/>
          <ac:spMkLst>
            <pc:docMk/>
            <pc:sldMk cId="2832481522" sldId="280"/>
            <ac:spMk id="110" creationId="{7E079AB6-5B75-3DD9-6FFB-9FE8FDCA1825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11" creationId="{02FAE5A0-DD46-5071-C94E-05E7B2DA746E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12" creationId="{3B190722-14FE-6B51-6DAB-32832AB95E8F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13" creationId="{F7FD149E-6129-2201-477D-09D9785C846B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14" creationId="{6DE89898-38B1-E7CC-D1AA-5427D4D32C5C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15" creationId="{1E35F904-15EE-34D5-B1D9-7BDAB71014B6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16" creationId="{F30A2BD6-65EF-4FD1-9677-0B42E8EC5F13}"/>
          </ac:spMkLst>
        </pc:spChg>
        <pc:spChg chg="add del mod">
          <ac:chgData name="Frank Sylla" userId="32483385abff8a62" providerId="LiveId" clId="{619E1CD5-9D16-45DA-8535-5D202E39A6AF}" dt="2023-01-07T20:34:44.014" v="2537" actId="478"/>
          <ac:spMkLst>
            <pc:docMk/>
            <pc:sldMk cId="2832481522" sldId="280"/>
            <ac:spMk id="117" creationId="{08D8F6BC-DD4A-9ACE-6539-FEA04BEF2C42}"/>
          </ac:spMkLst>
        </pc:spChg>
        <pc:spChg chg="add del mod">
          <ac:chgData name="Frank Sylla" userId="32483385abff8a62" providerId="LiveId" clId="{619E1CD5-9D16-45DA-8535-5D202E39A6AF}" dt="2023-01-07T20:34:44.934" v="2538" actId="478"/>
          <ac:spMkLst>
            <pc:docMk/>
            <pc:sldMk cId="2832481522" sldId="280"/>
            <ac:spMk id="118" creationId="{9FDBFB1B-3D65-3C29-C9D3-B7F92DF021B8}"/>
          </ac:spMkLst>
        </pc:spChg>
        <pc:spChg chg="add del mod">
          <ac:chgData name="Frank Sylla" userId="32483385abff8a62" providerId="LiveId" clId="{619E1CD5-9D16-45DA-8535-5D202E39A6AF}" dt="2023-01-07T20:34:49.978" v="2542" actId="478"/>
          <ac:spMkLst>
            <pc:docMk/>
            <pc:sldMk cId="2832481522" sldId="280"/>
            <ac:spMk id="119" creationId="{395AA233-446A-A1E1-1986-B54B21F29AA5}"/>
          </ac:spMkLst>
        </pc:spChg>
        <pc:spChg chg="add del mod">
          <ac:chgData name="Frank Sylla" userId="32483385abff8a62" providerId="LiveId" clId="{619E1CD5-9D16-45DA-8535-5D202E39A6AF}" dt="2023-01-07T20:34:48.818" v="2541" actId="478"/>
          <ac:spMkLst>
            <pc:docMk/>
            <pc:sldMk cId="2832481522" sldId="280"/>
            <ac:spMk id="120" creationId="{B2829C2C-3110-D480-9D55-F73E493545A2}"/>
          </ac:spMkLst>
        </pc:spChg>
        <pc:spChg chg="add mod">
          <ac:chgData name="Frank Sylla" userId="32483385abff8a62" providerId="LiveId" clId="{619E1CD5-9D16-45DA-8535-5D202E39A6AF}" dt="2023-01-07T20:05:10.059" v="2321" actId="20577"/>
          <ac:spMkLst>
            <pc:docMk/>
            <pc:sldMk cId="2832481522" sldId="280"/>
            <ac:spMk id="121" creationId="{D6EA5407-BF82-94D0-5604-5C53E6A97ECD}"/>
          </ac:spMkLst>
        </pc:spChg>
        <pc:spChg chg="add mod">
          <ac:chgData name="Frank Sylla" userId="32483385abff8a62" providerId="LiveId" clId="{619E1CD5-9D16-45DA-8535-5D202E39A6AF}" dt="2023-01-07T20:04:54.610" v="2312" actId="14100"/>
          <ac:spMkLst>
            <pc:docMk/>
            <pc:sldMk cId="2832481522" sldId="280"/>
            <ac:spMk id="122" creationId="{890AEC98-8264-3CC5-2842-D191D83D61F7}"/>
          </ac:spMkLst>
        </pc:spChg>
        <pc:spChg chg="add del mod">
          <ac:chgData name="Frank Sylla" userId="32483385abff8a62" providerId="LiveId" clId="{619E1CD5-9D16-45DA-8535-5D202E39A6AF}" dt="2023-01-06T21:05:13.823" v="937" actId="478"/>
          <ac:spMkLst>
            <pc:docMk/>
            <pc:sldMk cId="2832481522" sldId="280"/>
            <ac:spMk id="123" creationId="{3D849BA3-3FA6-3962-372B-0C327E5F17FE}"/>
          </ac:spMkLst>
        </pc:spChg>
        <pc:spChg chg="add del mod">
          <ac:chgData name="Frank Sylla" userId="32483385abff8a62" providerId="LiveId" clId="{619E1CD5-9D16-45DA-8535-5D202E39A6AF}" dt="2023-01-07T11:22:08.400" v="1739"/>
          <ac:spMkLst>
            <pc:docMk/>
            <pc:sldMk cId="2832481522" sldId="280"/>
            <ac:spMk id="123" creationId="{3E70C439-BAB9-28DA-49E8-E7C90947059C}"/>
          </ac:spMkLst>
        </pc:spChg>
        <pc:spChg chg="add del mod">
          <ac:chgData name="Frank Sylla" userId="32483385abff8a62" providerId="LiveId" clId="{619E1CD5-9D16-45DA-8535-5D202E39A6AF}" dt="2023-01-07T11:22:16.441" v="1741"/>
          <ac:spMkLst>
            <pc:docMk/>
            <pc:sldMk cId="2832481522" sldId="280"/>
            <ac:spMk id="124" creationId="{86FC325F-69D0-4B4B-B8FE-99D6DB7AE22A}"/>
          </ac:spMkLst>
        </pc:spChg>
        <pc:cxnChg chg="add mod">
          <ac:chgData name="Frank Sylla" userId="32483385abff8a62" providerId="LiveId" clId="{619E1CD5-9D16-45DA-8535-5D202E39A6AF}" dt="2023-01-07T11:31:24.244" v="1914" actId="1076"/>
          <ac:cxnSpMkLst>
            <pc:docMk/>
            <pc:sldMk cId="2832481522" sldId="280"/>
            <ac:cxnSpMk id="7" creationId="{339C3E3E-8658-1C16-E98D-18D880E50737}"/>
          </ac:cxnSpMkLst>
        </pc:cxnChg>
        <pc:cxnChg chg="add mod">
          <ac:chgData name="Frank Sylla" userId="32483385abff8a62" providerId="LiveId" clId="{619E1CD5-9D16-45DA-8535-5D202E39A6AF}" dt="2023-01-07T11:31:55.121" v="1915" actId="1076"/>
          <ac:cxnSpMkLst>
            <pc:docMk/>
            <pc:sldMk cId="2832481522" sldId="280"/>
            <ac:cxnSpMk id="8" creationId="{7A83E5F5-8506-FC82-5C12-BC837C685CF0}"/>
          </ac:cxnSpMkLst>
        </pc:cxnChg>
        <pc:cxnChg chg="add mod">
          <ac:chgData name="Frank Sylla" userId="32483385abff8a62" providerId="LiveId" clId="{619E1CD5-9D16-45DA-8535-5D202E39A6AF}" dt="2023-01-07T11:32:48.421" v="1941" actId="1076"/>
          <ac:cxnSpMkLst>
            <pc:docMk/>
            <pc:sldMk cId="2832481522" sldId="280"/>
            <ac:cxnSpMk id="9" creationId="{37D3EC86-6335-7002-0D47-EF30A2D4E14A}"/>
          </ac:cxnSpMkLst>
        </pc:cxnChg>
        <pc:cxnChg chg="add del mod">
          <ac:chgData name="Frank Sylla" userId="32483385abff8a62" providerId="LiveId" clId="{619E1CD5-9D16-45DA-8535-5D202E39A6AF}" dt="2023-01-07T20:34:41.653" v="2534" actId="478"/>
          <ac:cxnSpMkLst>
            <pc:docMk/>
            <pc:sldMk cId="2832481522" sldId="280"/>
            <ac:cxnSpMk id="10" creationId="{9854E413-2406-1C33-DE76-47468EAB1F74}"/>
          </ac:cxnSpMkLst>
        </pc:cxnChg>
        <pc:cxnChg chg="add del mod">
          <ac:chgData name="Frank Sylla" userId="32483385abff8a62" providerId="LiveId" clId="{619E1CD5-9D16-45DA-8535-5D202E39A6AF}" dt="2023-01-07T20:34:50.669" v="2543" actId="478"/>
          <ac:cxnSpMkLst>
            <pc:docMk/>
            <pc:sldMk cId="2832481522" sldId="280"/>
            <ac:cxnSpMk id="11" creationId="{085420E8-0AF8-7B83-6CD5-D81C3F22D8DF}"/>
          </ac:cxnSpMkLst>
        </pc:cxnChg>
        <pc:cxnChg chg="add mod">
          <ac:chgData name="Frank Sylla" userId="32483385abff8a62" providerId="LiveId" clId="{619E1CD5-9D16-45DA-8535-5D202E39A6AF}" dt="2023-01-07T20:04:44.030" v="2301" actId="1076"/>
          <ac:cxnSpMkLst>
            <pc:docMk/>
            <pc:sldMk cId="2832481522" sldId="280"/>
            <ac:cxnSpMk id="12" creationId="{B1A59C0D-B059-AB56-4A92-87C079DB547A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18" creationId="{84954710-1E05-D81B-DD94-38077B183010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19" creationId="{ACEB7C61-857B-33AE-E2A0-3FCB3DEED57A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0" creationId="{60D6968C-6A1A-7B17-2779-7B3F429CF592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1" creationId="{F6680CBB-5475-F757-B486-E257A92180A9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2" creationId="{33847483-5DB5-23E9-B2E4-2E9D5C7AF3ED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3" creationId="{1251B4D4-7FE5-CF37-6D2A-60888542092D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4" creationId="{EAC4CAF9-F758-02C9-1E40-EB9B6C172580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5" creationId="{352F4DF9-D83D-5313-E7C9-ECDDE53E4CC6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6" creationId="{4B34A84B-4F6C-DBA7-9481-68415C48AB36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7" creationId="{10BC34C5-865A-E83B-434A-CA4C4F577FB3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8" creationId="{8C155A59-C25A-F3DA-FF5A-3EB21035CA92}"/>
          </ac:cxnSpMkLst>
        </pc:cxnChg>
      </pc:sldChg>
      <pc:sldChg chg="addSp delSp modSp new mod modClrScheme chgLayout">
        <pc:chgData name="Frank Sylla" userId="32483385abff8a62" providerId="LiveId" clId="{619E1CD5-9D16-45DA-8535-5D202E39A6AF}" dt="2023-01-07T21:06:26.334" v="2744" actId="1076"/>
        <pc:sldMkLst>
          <pc:docMk/>
          <pc:sldMk cId="650654765" sldId="281"/>
        </pc:sldMkLst>
        <pc:spChg chg="del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2" creationId="{CFEB5117-1578-BE39-70CE-B21D458E6784}"/>
          </ac:spMkLst>
        </pc:spChg>
        <pc:spChg chg="del mod ord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3" creationId="{57D17922-61EC-4B35-9EA4-0390FC60B58A}"/>
          </ac:spMkLst>
        </pc:spChg>
        <pc:spChg chg="del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4" creationId="{55EC1F22-D7E9-DF66-4E5E-E7B1B6931898}"/>
          </ac:spMkLst>
        </pc:spChg>
        <pc:spChg chg="add mod ord">
          <ac:chgData name="Frank Sylla" userId="32483385abff8a62" providerId="LiveId" clId="{619E1CD5-9D16-45DA-8535-5D202E39A6AF}" dt="2023-01-07T20:38:33.812" v="2566" actId="20577"/>
          <ac:spMkLst>
            <pc:docMk/>
            <pc:sldMk cId="650654765" sldId="281"/>
            <ac:spMk id="5" creationId="{8F76C7E1-0B17-4D45-32DA-03727D594E50}"/>
          </ac:spMkLst>
        </pc:spChg>
        <pc:spChg chg="del mod">
          <ac:chgData name="Frank Sylla" userId="32483385abff8a62" providerId="LiveId" clId="{619E1CD5-9D16-45DA-8535-5D202E39A6AF}" dt="2023-01-07T20:42:25.097" v="2596" actId="478"/>
          <ac:spMkLst>
            <pc:docMk/>
            <pc:sldMk cId="650654765" sldId="281"/>
            <ac:spMk id="15" creationId="{CB31A8F9-0FEF-A20D-B937-09E2AE20597A}"/>
          </ac:spMkLst>
        </pc:spChg>
        <pc:spChg chg="del mod">
          <ac:chgData name="Frank Sylla" userId="32483385abff8a62" providerId="LiveId" clId="{619E1CD5-9D16-45DA-8535-5D202E39A6AF}" dt="2023-01-07T20:49:54.957" v="2643" actId="478"/>
          <ac:spMkLst>
            <pc:docMk/>
            <pc:sldMk cId="650654765" sldId="281"/>
            <ac:spMk id="19" creationId="{00195D7F-EBA2-E86C-F2A2-610B7C4C692D}"/>
          </ac:spMkLst>
        </pc:spChg>
        <pc:spChg chg="del mod">
          <ac:chgData name="Frank Sylla" userId="32483385abff8a62" providerId="LiveId" clId="{619E1CD5-9D16-45DA-8535-5D202E39A6AF}" dt="2023-01-07T20:49:53.326" v="2642" actId="478"/>
          <ac:spMkLst>
            <pc:docMk/>
            <pc:sldMk cId="650654765" sldId="281"/>
            <ac:spMk id="20" creationId="{2FE05D72-F585-0EE7-06DC-5E4449D89D04}"/>
          </ac:spMkLst>
        </pc:spChg>
        <pc:spChg chg="del mod">
          <ac:chgData name="Frank Sylla" userId="32483385abff8a62" providerId="LiveId" clId="{619E1CD5-9D16-45DA-8535-5D202E39A6AF}" dt="2023-01-07T21:03:45.585" v="2729" actId="478"/>
          <ac:spMkLst>
            <pc:docMk/>
            <pc:sldMk cId="650654765" sldId="281"/>
            <ac:spMk id="21" creationId="{329D4B27-B80B-DCAA-1839-1F889BD89F5F}"/>
          </ac:spMkLst>
        </pc:spChg>
        <pc:spChg chg="del mod">
          <ac:chgData name="Frank Sylla" userId="32483385abff8a62" providerId="LiveId" clId="{619E1CD5-9D16-45DA-8535-5D202E39A6AF}" dt="2023-01-07T21:03:38.661" v="2724" actId="478"/>
          <ac:spMkLst>
            <pc:docMk/>
            <pc:sldMk cId="650654765" sldId="281"/>
            <ac:spMk id="22" creationId="{6D3DBCE7-F360-FD16-2424-1885D33D88F1}"/>
          </ac:spMkLst>
        </pc:spChg>
        <pc:spChg chg="del mod">
          <ac:chgData name="Frank Sylla" userId="32483385abff8a62" providerId="LiveId" clId="{619E1CD5-9D16-45DA-8535-5D202E39A6AF}" dt="2023-01-07T21:03:42.346" v="2727" actId="478"/>
          <ac:spMkLst>
            <pc:docMk/>
            <pc:sldMk cId="650654765" sldId="281"/>
            <ac:spMk id="23" creationId="{0876D929-5F8A-4BD8-0B03-B6EA176C50BF}"/>
          </ac:spMkLst>
        </pc:spChg>
        <pc:spChg chg="del mod">
          <ac:chgData name="Frank Sylla" userId="32483385abff8a62" providerId="LiveId" clId="{619E1CD5-9D16-45DA-8535-5D202E39A6AF}" dt="2023-01-07T21:03:43.870" v="2728" actId="478"/>
          <ac:spMkLst>
            <pc:docMk/>
            <pc:sldMk cId="650654765" sldId="281"/>
            <ac:spMk id="24" creationId="{53A01A7D-3F45-EE9F-FD6D-ED1D92D7D52A}"/>
          </ac:spMkLst>
        </pc:spChg>
        <pc:spChg chg="mod">
          <ac:chgData name="Frank Sylla" userId="32483385abff8a62" providerId="LiveId" clId="{619E1CD5-9D16-45DA-8535-5D202E39A6AF}" dt="2023-01-07T20:39:33.557" v="2575" actId="1076"/>
          <ac:spMkLst>
            <pc:docMk/>
            <pc:sldMk cId="650654765" sldId="281"/>
            <ac:spMk id="25" creationId="{EC07FC25-532D-372B-D05B-8F6D37D903D4}"/>
          </ac:spMkLst>
        </pc:spChg>
        <pc:spChg chg="mod">
          <ac:chgData name="Frank Sylla" userId="32483385abff8a62" providerId="LiveId" clId="{619E1CD5-9D16-45DA-8535-5D202E39A6AF}" dt="2023-01-07T20:39:33.557" v="2575" actId="1076"/>
          <ac:spMkLst>
            <pc:docMk/>
            <pc:sldMk cId="650654765" sldId="281"/>
            <ac:spMk id="26" creationId="{510ED7B5-73C6-B939-C346-EC842BE3C170}"/>
          </ac:spMkLst>
        </pc:spChg>
        <pc:spChg chg="del mod">
          <ac:chgData name="Frank Sylla" userId="32483385abff8a62" providerId="LiveId" clId="{619E1CD5-9D16-45DA-8535-5D202E39A6AF}" dt="2023-01-07T20:46:07.770" v="2615" actId="478"/>
          <ac:spMkLst>
            <pc:docMk/>
            <pc:sldMk cId="650654765" sldId="281"/>
            <ac:spMk id="27" creationId="{B117A2E4-A840-5DA5-502B-F24B8D67B214}"/>
          </ac:spMkLst>
        </pc:spChg>
        <pc:spChg chg="del mod">
          <ac:chgData name="Frank Sylla" userId="32483385abff8a62" providerId="LiveId" clId="{619E1CD5-9D16-45DA-8535-5D202E39A6AF}" dt="2023-01-07T20:46:18.854" v="2620" actId="478"/>
          <ac:spMkLst>
            <pc:docMk/>
            <pc:sldMk cId="650654765" sldId="281"/>
            <ac:spMk id="28" creationId="{5A2C2BB9-D596-70EE-A55A-906420AB45D9}"/>
          </ac:spMkLst>
        </pc:spChg>
        <pc:spChg chg="del mod">
          <ac:chgData name="Frank Sylla" userId="32483385abff8a62" providerId="LiveId" clId="{619E1CD5-9D16-45DA-8535-5D202E39A6AF}" dt="2023-01-07T20:46:12.895" v="2618" actId="478"/>
          <ac:spMkLst>
            <pc:docMk/>
            <pc:sldMk cId="650654765" sldId="281"/>
            <ac:spMk id="29" creationId="{E1EED3C8-9ECC-3991-12AB-CDE67468CB31}"/>
          </ac:spMkLst>
        </pc:spChg>
        <pc:spChg chg="del mod">
          <ac:chgData name="Frank Sylla" userId="32483385abff8a62" providerId="LiveId" clId="{619E1CD5-9D16-45DA-8535-5D202E39A6AF}" dt="2023-01-07T20:46:22.515" v="2622" actId="478"/>
          <ac:spMkLst>
            <pc:docMk/>
            <pc:sldMk cId="650654765" sldId="281"/>
            <ac:spMk id="30" creationId="{357DAF55-958A-8A97-7AB5-1689D247C71C}"/>
          </ac:spMkLst>
        </pc:spChg>
        <pc:spChg chg="del mod">
          <ac:chgData name="Frank Sylla" userId="32483385abff8a62" providerId="LiveId" clId="{619E1CD5-9D16-45DA-8535-5D202E39A6AF}" dt="2023-01-07T20:46:11.450" v="2617" actId="478"/>
          <ac:spMkLst>
            <pc:docMk/>
            <pc:sldMk cId="650654765" sldId="281"/>
            <ac:spMk id="31" creationId="{B6B8D1CE-2BFB-345D-2782-E0193882F8D3}"/>
          </ac:spMkLst>
        </pc:spChg>
        <pc:spChg chg="del mod">
          <ac:chgData name="Frank Sylla" userId="32483385abff8a62" providerId="LiveId" clId="{619E1CD5-9D16-45DA-8535-5D202E39A6AF}" dt="2023-01-07T20:46:16.545" v="2619" actId="478"/>
          <ac:spMkLst>
            <pc:docMk/>
            <pc:sldMk cId="650654765" sldId="281"/>
            <ac:spMk id="32" creationId="{CC1FD1CF-07C9-D07F-3E22-C9C4DD8FD39D}"/>
          </ac:spMkLst>
        </pc:spChg>
        <pc:spChg chg="del mod">
          <ac:chgData name="Frank Sylla" userId="32483385abff8a62" providerId="LiveId" clId="{619E1CD5-9D16-45DA-8535-5D202E39A6AF}" dt="2023-01-07T20:46:20.783" v="2621" actId="478"/>
          <ac:spMkLst>
            <pc:docMk/>
            <pc:sldMk cId="650654765" sldId="281"/>
            <ac:spMk id="33" creationId="{90AE6355-C4BF-7EB3-261D-075A9BC78401}"/>
          </ac:spMkLst>
        </pc:spChg>
        <pc:spChg chg="del mod">
          <ac:chgData name="Frank Sylla" userId="32483385abff8a62" providerId="LiveId" clId="{619E1CD5-9D16-45DA-8535-5D202E39A6AF}" dt="2023-01-07T20:46:09.766" v="2616" actId="478"/>
          <ac:spMkLst>
            <pc:docMk/>
            <pc:sldMk cId="650654765" sldId="281"/>
            <ac:spMk id="34" creationId="{736E0499-AB0B-F73B-81FD-F7A221A94B1D}"/>
          </ac:spMkLst>
        </pc:spChg>
        <pc:spChg chg="del mod">
          <ac:chgData name="Frank Sylla" userId="32483385abff8a62" providerId="LiveId" clId="{619E1CD5-9D16-45DA-8535-5D202E39A6AF}" dt="2023-01-07T21:05:29.215" v="2738" actId="478"/>
          <ac:spMkLst>
            <pc:docMk/>
            <pc:sldMk cId="650654765" sldId="281"/>
            <ac:spMk id="35" creationId="{5E5C0552-F58E-B96C-E142-1C8A5AE8C440}"/>
          </ac:spMkLst>
        </pc:spChg>
        <pc:spChg chg="del mod">
          <ac:chgData name="Frank Sylla" userId="32483385abff8a62" providerId="LiveId" clId="{619E1CD5-9D16-45DA-8535-5D202E39A6AF}" dt="2023-01-07T21:05:27.386" v="2737" actId="478"/>
          <ac:spMkLst>
            <pc:docMk/>
            <pc:sldMk cId="650654765" sldId="281"/>
            <ac:spMk id="36" creationId="{72C08994-436A-C49E-1098-ADE91DBD208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37" creationId="{0F0741EA-22AC-01CA-E79D-FDBE10738088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1" creationId="{DAA7A8BB-5F94-5BAF-265F-21F94BB56DC5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2" creationId="{CD9978C7-F441-AE42-7048-9181ABA7AB71}"/>
          </ac:spMkLst>
        </pc:spChg>
        <pc:spChg chg="mod">
          <ac:chgData name="Frank Sylla" userId="32483385abff8a62" providerId="LiveId" clId="{619E1CD5-9D16-45DA-8535-5D202E39A6AF}" dt="2023-01-07T20:58:03.373" v="2719" actId="1076"/>
          <ac:spMkLst>
            <pc:docMk/>
            <pc:sldMk cId="650654765" sldId="281"/>
            <ac:spMk id="43" creationId="{12D991F6-A229-FE4C-999F-F2F08A213029}"/>
          </ac:spMkLst>
        </pc:spChg>
        <pc:spChg chg="del mod">
          <ac:chgData name="Frank Sylla" userId="32483385abff8a62" providerId="LiveId" clId="{619E1CD5-9D16-45DA-8535-5D202E39A6AF}" dt="2023-01-07T20:46:56.791" v="2641" actId="478"/>
          <ac:spMkLst>
            <pc:docMk/>
            <pc:sldMk cId="650654765" sldId="281"/>
            <ac:spMk id="44" creationId="{7E66E693-6589-51F9-64A7-5E8F9CCC838B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5" creationId="{7F1BFB2F-54DF-9F34-3DF0-75FF041EBA1C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9" creationId="{BB97C745-6F09-5614-8715-12884AEE86D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0" creationId="{2941CD6E-8FC4-C6BF-BD7B-32CD83966693}"/>
          </ac:spMkLst>
        </pc:spChg>
        <pc:spChg chg="mod">
          <ac:chgData name="Frank Sylla" userId="32483385abff8a62" providerId="LiveId" clId="{619E1CD5-9D16-45DA-8535-5D202E39A6AF}" dt="2023-01-07T20:51:23.842" v="2678" actId="1076"/>
          <ac:spMkLst>
            <pc:docMk/>
            <pc:sldMk cId="650654765" sldId="281"/>
            <ac:spMk id="51" creationId="{5079E9FD-C737-7A16-1293-F70FA30BB2D6}"/>
          </ac:spMkLst>
        </pc:spChg>
        <pc:spChg chg="del mod">
          <ac:chgData name="Frank Sylla" userId="32483385abff8a62" providerId="LiveId" clId="{619E1CD5-9D16-45DA-8535-5D202E39A6AF}" dt="2023-01-07T20:51:27.096" v="2679" actId="478"/>
          <ac:spMkLst>
            <pc:docMk/>
            <pc:sldMk cId="650654765" sldId="281"/>
            <ac:spMk id="52" creationId="{38AE086F-5569-5E49-03D9-0FDA73F74B0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3" creationId="{8F5B9CAA-4AE4-2AEB-F1DB-A91C056BC2A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7" creationId="{86BCF511-2563-566F-68DF-D87CD3577720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8" creationId="{B102D623-5C13-FF73-E38D-85427FD21C62}"/>
          </ac:spMkLst>
        </pc:spChg>
        <pc:spChg chg="mod">
          <ac:chgData name="Frank Sylla" userId="32483385abff8a62" providerId="LiveId" clId="{619E1CD5-9D16-45DA-8535-5D202E39A6AF}" dt="2023-01-07T20:51:56.778" v="2693" actId="1076"/>
          <ac:spMkLst>
            <pc:docMk/>
            <pc:sldMk cId="650654765" sldId="281"/>
            <ac:spMk id="59" creationId="{F7F50E52-DF41-4A88-0875-E647A95C2ABA}"/>
          </ac:spMkLst>
        </pc:spChg>
        <pc:spChg chg="del mod">
          <ac:chgData name="Frank Sylla" userId="32483385abff8a62" providerId="LiveId" clId="{619E1CD5-9D16-45DA-8535-5D202E39A6AF}" dt="2023-01-07T20:40:30.122" v="2592" actId="478"/>
          <ac:spMkLst>
            <pc:docMk/>
            <pc:sldMk cId="650654765" sldId="281"/>
            <ac:spMk id="60" creationId="{53AC9E49-4D58-1C3B-32E9-3B0080622216}"/>
          </ac:spMkLst>
        </pc:spChg>
        <pc:spChg chg="mod">
          <ac:chgData name="Frank Sylla" userId="32483385abff8a62" providerId="LiveId" clId="{619E1CD5-9D16-45DA-8535-5D202E39A6AF}" dt="2023-01-07T20:39:15.499" v="2573" actId="14100"/>
          <ac:spMkLst>
            <pc:docMk/>
            <pc:sldMk cId="650654765" sldId="281"/>
            <ac:spMk id="61" creationId="{C83FEA7C-5527-3C56-3FBE-144864FCB60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5" creationId="{8FCD3EF0-5629-B84F-12E4-B53CA82ED62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6" creationId="{036BB9CA-A64F-D021-8950-B4BF6A41E94E}"/>
          </ac:spMkLst>
        </pc:spChg>
        <pc:spChg chg="mod">
          <ac:chgData name="Frank Sylla" userId="32483385abff8a62" providerId="LiveId" clId="{619E1CD5-9D16-45DA-8535-5D202E39A6AF}" dt="2023-01-07T20:40:17.364" v="2591" actId="1076"/>
          <ac:spMkLst>
            <pc:docMk/>
            <pc:sldMk cId="650654765" sldId="281"/>
            <ac:spMk id="67" creationId="{DA24DC22-CB2F-BB13-B4F5-0DD2E70B3DB0}"/>
          </ac:spMkLst>
        </pc:spChg>
        <pc:spChg chg="del mod">
          <ac:chgData name="Frank Sylla" userId="32483385abff8a62" providerId="LiveId" clId="{619E1CD5-9D16-45DA-8535-5D202E39A6AF}" dt="2023-01-07T20:39:59.819" v="2590" actId="478"/>
          <ac:spMkLst>
            <pc:docMk/>
            <pc:sldMk cId="650654765" sldId="281"/>
            <ac:spMk id="68" creationId="{8325351B-F977-8D3E-12E0-584F857B24D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9" creationId="{435B3085-2E3A-8323-6968-3CFA3FCA1691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3" creationId="{95940335-6FDD-6C64-7D33-D3A09745CE5C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4" creationId="{40297032-4312-91BD-3F76-B600F46FB6FA}"/>
          </ac:spMkLst>
        </pc:spChg>
        <pc:spChg chg="mod">
          <ac:chgData name="Frank Sylla" userId="32483385abff8a62" providerId="LiveId" clId="{619E1CD5-9D16-45DA-8535-5D202E39A6AF}" dt="2023-01-07T20:46:51.321" v="2637" actId="1076"/>
          <ac:spMkLst>
            <pc:docMk/>
            <pc:sldMk cId="650654765" sldId="281"/>
            <ac:spMk id="75" creationId="{45301A8A-2161-B350-E1DD-A4D08F859F54}"/>
          </ac:spMkLst>
        </pc:spChg>
        <pc:spChg chg="del mod">
          <ac:chgData name="Frank Sylla" userId="32483385abff8a62" providerId="LiveId" clId="{619E1CD5-9D16-45DA-8535-5D202E39A6AF}" dt="2023-01-07T20:46:52.786" v="2638" actId="478"/>
          <ac:spMkLst>
            <pc:docMk/>
            <pc:sldMk cId="650654765" sldId="281"/>
            <ac:spMk id="76" creationId="{5FD04819-DC78-69AA-E90D-1BF627B8C042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7" creationId="{4D42579A-438F-4E5A-3090-D656AB009D9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81" creationId="{7B4E9DAE-E655-966E-8C8F-B957261C82F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82" creationId="{51CF8FA6-0C37-8FF7-A0D6-8B0F6053D82E}"/>
          </ac:spMkLst>
        </pc:spChg>
        <pc:spChg chg="mod">
          <ac:chgData name="Frank Sylla" userId="32483385abff8a62" providerId="LiveId" clId="{619E1CD5-9D16-45DA-8535-5D202E39A6AF}" dt="2023-01-07T20:57:50.812" v="2717" actId="1076"/>
          <ac:spMkLst>
            <pc:docMk/>
            <pc:sldMk cId="650654765" sldId="281"/>
            <ac:spMk id="83" creationId="{E1402923-A2CA-4407-8CBD-0B71C47C190F}"/>
          </ac:spMkLst>
        </pc:spChg>
        <pc:spChg chg="del mod">
          <ac:chgData name="Frank Sylla" userId="32483385abff8a62" providerId="LiveId" clId="{619E1CD5-9D16-45DA-8535-5D202E39A6AF}" dt="2023-01-07T20:46:55.090" v="2640" actId="478"/>
          <ac:spMkLst>
            <pc:docMk/>
            <pc:sldMk cId="650654765" sldId="281"/>
            <ac:spMk id="84" creationId="{098DEF28-F891-0FAD-FC90-ADB9627089DE}"/>
          </ac:spMkLst>
        </pc:spChg>
        <pc:spChg chg="add del">
          <ac:chgData name="Frank Sylla" userId="32483385abff8a62" providerId="LiveId" clId="{619E1CD5-9D16-45DA-8535-5D202E39A6AF}" dt="2023-01-07T20:43:01.026" v="2600" actId="478"/>
          <ac:spMkLst>
            <pc:docMk/>
            <pc:sldMk cId="650654765" sldId="281"/>
            <ac:spMk id="87" creationId="{E12AB3E0-CF85-0790-7CA7-1C47F9491373}"/>
          </ac:spMkLst>
        </pc:spChg>
        <pc:grpChg chg="add del mod">
          <ac:chgData name="Frank Sylla" userId="32483385abff8a62" providerId="LiveId" clId="{619E1CD5-9D16-45DA-8535-5D202E39A6AF}" dt="2023-01-07T21:06:26.334" v="2744" actId="1076"/>
          <ac:grpSpMkLst>
            <pc:docMk/>
            <pc:sldMk cId="650654765" sldId="281"/>
            <ac:grpSpMk id="6" creationId="{67748A5C-C4EA-F322-AC4A-FAE192F2948C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7" creationId="{934F21C9-8294-0FC7-93C0-DFE289976CA9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8" creationId="{3730632D-E83E-7397-361A-D2A72F8D4370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9" creationId="{621A7840-3DB3-E7E7-A42F-CE36012C2AA8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0" creationId="{F93369F2-6BD0-4F80-7020-EE01034F3171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1" creationId="{C37A45D3-5EC7-696E-7E78-7D1E8B6C5030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2" creationId="{E3A2F0E4-E4C0-761B-D7E2-76299A70F3D2}"/>
          </ac:grpSpMkLst>
        </pc:grpChg>
        <pc:grpChg chg="del mod">
          <ac:chgData name="Frank Sylla" userId="32483385abff8a62" providerId="LiveId" clId="{619E1CD5-9D16-45DA-8535-5D202E39A6AF}" dt="2023-01-07T21:05:27.386" v="2737" actId="478"/>
          <ac:grpSpMkLst>
            <pc:docMk/>
            <pc:sldMk cId="650654765" sldId="281"/>
            <ac:grpSpMk id="13" creationId="{07CA3877-1FFA-A791-B39E-6C86696CBF0D}"/>
          </ac:grpSpMkLst>
        </pc:grpChg>
        <pc:grpChg chg="del mod">
          <ac:chgData name="Frank Sylla" userId="32483385abff8a62" providerId="LiveId" clId="{619E1CD5-9D16-45DA-8535-5D202E39A6AF}" dt="2023-01-07T20:46:20.783" v="2621" actId="478"/>
          <ac:grpSpMkLst>
            <pc:docMk/>
            <pc:sldMk cId="650654765" sldId="281"/>
            <ac:grpSpMk id="14" creationId="{B415C96C-7836-B947-343E-347210C8B853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6" creationId="{D0F9E7BB-05FF-7286-AFEC-97FC36D7CD3C}"/>
          </ac:grpSpMkLst>
        </pc:grpChg>
        <pc:grpChg chg="del mod">
          <ac:chgData name="Frank Sylla" userId="32483385abff8a62" providerId="LiveId" clId="{619E1CD5-9D16-45DA-8535-5D202E39A6AF}" dt="2023-01-07T21:03:43.870" v="2728" actId="478"/>
          <ac:grpSpMkLst>
            <pc:docMk/>
            <pc:sldMk cId="650654765" sldId="281"/>
            <ac:grpSpMk id="17" creationId="{2C831747-B2D9-FE05-2665-950E14141DC0}"/>
          </ac:grpSpMkLst>
        </pc:grpChg>
        <pc:grpChg chg="del mod">
          <ac:chgData name="Frank Sylla" userId="32483385abff8a62" providerId="LiveId" clId="{619E1CD5-9D16-45DA-8535-5D202E39A6AF}" dt="2023-01-07T20:49:53.326" v="2642" actId="478"/>
          <ac:grpSpMkLst>
            <pc:docMk/>
            <pc:sldMk cId="650654765" sldId="281"/>
            <ac:grpSpMk id="18" creationId="{989F0FBF-B6B1-2723-7C99-3A9A47B6F605}"/>
          </ac:grpSpMkLst>
        </pc:grpChg>
        <pc:grpChg chg="del mod">
          <ac:chgData name="Frank Sylla" userId="32483385abff8a62" providerId="LiveId" clId="{619E1CD5-9D16-45DA-8535-5D202E39A6AF}" dt="2023-01-07T20:46:56.791" v="2641" actId="478"/>
          <ac:grpSpMkLst>
            <pc:docMk/>
            <pc:sldMk cId="650654765" sldId="281"/>
            <ac:grpSpMk id="38" creationId="{8CAD4AE8-DB47-4178-2A1F-B7BBA747995E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40" creationId="{6AF67FC7-3D21-71C3-91AD-0C41F88F2F64}"/>
          </ac:grpSpMkLst>
        </pc:grpChg>
        <pc:grpChg chg="del mod">
          <ac:chgData name="Frank Sylla" userId="32483385abff8a62" providerId="LiveId" clId="{619E1CD5-9D16-45DA-8535-5D202E39A6AF}" dt="2023-01-07T20:51:27.096" v="2679" actId="478"/>
          <ac:grpSpMkLst>
            <pc:docMk/>
            <pc:sldMk cId="650654765" sldId="281"/>
            <ac:grpSpMk id="47" creationId="{D6F58321-65E5-63D2-6EE4-F7EC18364CED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48" creationId="{D2C379E4-A13B-EF23-5DD0-A58E92A58467}"/>
          </ac:grpSpMkLst>
        </pc:grpChg>
        <pc:grpChg chg="del mod">
          <ac:chgData name="Frank Sylla" userId="32483385abff8a62" providerId="LiveId" clId="{619E1CD5-9D16-45DA-8535-5D202E39A6AF}" dt="2023-01-07T20:40:30.122" v="2592" actId="478"/>
          <ac:grpSpMkLst>
            <pc:docMk/>
            <pc:sldMk cId="650654765" sldId="281"/>
            <ac:grpSpMk id="55" creationId="{2FC628CC-9FDA-1EAF-C8C5-C66DE6C93733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56" creationId="{437231D8-6681-FFB6-46DC-976B3593B910}"/>
          </ac:grpSpMkLst>
        </pc:grpChg>
        <pc:grpChg chg="del mod">
          <ac:chgData name="Frank Sylla" userId="32483385abff8a62" providerId="LiveId" clId="{619E1CD5-9D16-45DA-8535-5D202E39A6AF}" dt="2023-01-07T20:39:59.819" v="2590" actId="478"/>
          <ac:grpSpMkLst>
            <pc:docMk/>
            <pc:sldMk cId="650654765" sldId="281"/>
            <ac:grpSpMk id="63" creationId="{90C0DC0A-38AA-52B6-E11C-69A6E591ACF2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64" creationId="{3FB6C3B4-6CF4-8C15-A26E-B067A1AEF39A}"/>
          </ac:grpSpMkLst>
        </pc:grpChg>
        <pc:grpChg chg="del mod">
          <ac:chgData name="Frank Sylla" userId="32483385abff8a62" providerId="LiveId" clId="{619E1CD5-9D16-45DA-8535-5D202E39A6AF}" dt="2023-01-07T20:46:52.786" v="2638" actId="478"/>
          <ac:grpSpMkLst>
            <pc:docMk/>
            <pc:sldMk cId="650654765" sldId="281"/>
            <ac:grpSpMk id="71" creationId="{745CFF63-416D-CD5D-E817-0B598A20E692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72" creationId="{6CAF1295-8033-2C42-9466-312C99BBE3B6}"/>
          </ac:grpSpMkLst>
        </pc:grpChg>
        <pc:grpChg chg="del mod">
          <ac:chgData name="Frank Sylla" userId="32483385abff8a62" providerId="LiveId" clId="{619E1CD5-9D16-45DA-8535-5D202E39A6AF}" dt="2023-01-07T20:46:55.090" v="2640" actId="478"/>
          <ac:grpSpMkLst>
            <pc:docMk/>
            <pc:sldMk cId="650654765" sldId="281"/>
            <ac:grpSpMk id="79" creationId="{076B3C11-C6DB-41A4-285E-40259DB4D6EC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80" creationId="{7D3221EC-9809-A939-261B-AD08DB4CCF06}"/>
          </ac:grpSpMkLst>
        </pc:grpChg>
        <pc:picChg chg="add del mod">
          <ac:chgData name="Frank Sylla" userId="32483385abff8a62" providerId="LiveId" clId="{619E1CD5-9D16-45DA-8535-5D202E39A6AF}" dt="2023-01-07T20:43:26.211" v="2601" actId="478"/>
          <ac:picMkLst>
            <pc:docMk/>
            <pc:sldMk cId="650654765" sldId="281"/>
            <ac:picMk id="86" creationId="{09C4FAAE-4306-3067-B7AC-61E7A3664ECC}"/>
          </ac:picMkLst>
        </pc:picChg>
        <pc:picChg chg="add del mod ord">
          <ac:chgData name="Frank Sylla" userId="32483385abff8a62" providerId="LiveId" clId="{619E1CD5-9D16-45DA-8535-5D202E39A6AF}" dt="2023-01-07T20:43:53.698" v="2607" actId="478"/>
          <ac:picMkLst>
            <pc:docMk/>
            <pc:sldMk cId="650654765" sldId="281"/>
            <ac:picMk id="89" creationId="{44B41450-A540-AACD-DBCD-51421CC35325}"/>
          </ac:picMkLst>
        </pc:picChg>
        <pc:picChg chg="add mod">
          <ac:chgData name="Frank Sylla" userId="32483385abff8a62" providerId="LiveId" clId="{619E1CD5-9D16-45DA-8535-5D202E39A6AF}" dt="2023-01-07T20:46:26.772" v="2623" actId="1076"/>
          <ac:picMkLst>
            <pc:docMk/>
            <pc:sldMk cId="650654765" sldId="281"/>
            <ac:picMk id="91" creationId="{A71A98CB-A141-FAF7-EABA-086584D5ACF9}"/>
          </ac:picMkLst>
        </pc:picChg>
        <pc:picChg chg="add del mod">
          <ac:chgData name="Frank Sylla" userId="32483385abff8a62" providerId="LiveId" clId="{619E1CD5-9D16-45DA-8535-5D202E39A6AF}" dt="2023-01-07T20:50:15.928" v="2650" actId="478"/>
          <ac:picMkLst>
            <pc:docMk/>
            <pc:sldMk cId="650654765" sldId="281"/>
            <ac:picMk id="93" creationId="{7D1C0B28-29C7-67F4-D058-1B811F6885F7}"/>
          </ac:picMkLst>
        </pc:picChg>
        <pc:picChg chg="add mod">
          <ac:chgData name="Frank Sylla" userId="32483385abff8a62" providerId="LiveId" clId="{619E1CD5-9D16-45DA-8535-5D202E39A6AF}" dt="2023-01-07T20:50:41.828" v="2658" actId="1076"/>
          <ac:picMkLst>
            <pc:docMk/>
            <pc:sldMk cId="650654765" sldId="281"/>
            <ac:picMk id="95" creationId="{0A3704B5-7C92-3154-A1D1-0C0A17AC34D5}"/>
          </ac:picMkLst>
        </pc:picChg>
        <pc:picChg chg="add mod">
          <ac:chgData name="Frank Sylla" userId="32483385abff8a62" providerId="LiveId" clId="{619E1CD5-9D16-45DA-8535-5D202E39A6AF}" dt="2023-01-07T20:56:38.525" v="2696" actId="14100"/>
          <ac:picMkLst>
            <pc:docMk/>
            <pc:sldMk cId="650654765" sldId="281"/>
            <ac:picMk id="97" creationId="{0D5830F3-5E61-7A60-4465-C06CEE513A53}"/>
          </ac:picMkLst>
        </pc:picChg>
        <pc:picChg chg="add mod">
          <ac:chgData name="Frank Sylla" userId="32483385abff8a62" providerId="LiveId" clId="{619E1CD5-9D16-45DA-8535-5D202E39A6AF}" dt="2023-01-07T21:03:50.846" v="2732" actId="1076"/>
          <ac:picMkLst>
            <pc:docMk/>
            <pc:sldMk cId="650654765" sldId="281"/>
            <ac:picMk id="99" creationId="{29B7317B-FF06-6760-8AB1-025BC77F95E0}"/>
          </ac:picMkLst>
        </pc:picChg>
        <pc:picChg chg="add mod">
          <ac:chgData name="Frank Sylla" userId="32483385abff8a62" providerId="LiveId" clId="{619E1CD5-9D16-45DA-8535-5D202E39A6AF}" dt="2023-01-07T21:05:36.137" v="2741" actId="1076"/>
          <ac:picMkLst>
            <pc:docMk/>
            <pc:sldMk cId="650654765" sldId="281"/>
            <ac:picMk id="101" creationId="{D03E053A-44DE-A69F-CEF7-903AF8678205}"/>
          </ac:picMkLst>
        </pc:pic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39" creationId="{F513C0E9-2460-6699-CE09-068E3C90CDA5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46" creationId="{C225C21F-73D8-797F-5402-84AFEAAF69B3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54" creationId="{74463C39-1551-001D-0F0C-A01793BCF2AC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62" creationId="{FED8C8A7-EBDE-1BED-12FB-615CA8A4506E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70" creationId="{78D4C559-5E4E-C013-9C08-57163568537F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78" creationId="{4CBADCFD-EAF9-6EF7-C3C3-99D45C1A8960}"/>
          </ac:cxnSpMkLst>
        </pc:cxnChg>
      </pc:sldChg>
      <pc:sldChg chg="add del">
        <pc:chgData name="Frank Sylla" userId="32483385abff8a62" providerId="LiveId" clId="{619E1CD5-9D16-45DA-8535-5D202E39A6AF}" dt="2023-01-07T11:40:22.051" v="2182" actId="47"/>
        <pc:sldMkLst>
          <pc:docMk/>
          <pc:sldMk cId="2066163216" sldId="281"/>
        </pc:sldMkLst>
      </pc:sldChg>
      <pc:sldMasterChg chg="delSldLayout modSldLayout">
        <pc:chgData name="Frank Sylla" userId="32483385abff8a62" providerId="LiveId" clId="{619E1CD5-9D16-45DA-8535-5D202E39A6AF}" dt="2023-01-07T21:06:02.269" v="2742" actId="47"/>
        <pc:sldMasterMkLst>
          <pc:docMk/>
          <pc:sldMasterMk cId="1288936597" sldId="2147483695"/>
        </pc:sldMasterMkLst>
        <pc:sldLayoutChg chg="modSp mod">
          <pc:chgData name="Frank Sylla" userId="32483385abff8a62" providerId="LiveId" clId="{619E1CD5-9D16-45DA-8535-5D202E39A6AF}" dt="2023-01-07T11:43:29.218" v="2185" actId="20577"/>
          <pc:sldLayoutMkLst>
            <pc:docMk/>
            <pc:sldMasterMk cId="1288936597" sldId="2147483695"/>
            <pc:sldLayoutMk cId="1590156026" sldId="2147483696"/>
          </pc:sldLayoutMkLst>
          <pc:spChg chg="mod">
            <ac:chgData name="Frank Sylla" userId="32483385abff8a62" providerId="LiveId" clId="{619E1CD5-9D16-45DA-8535-5D202E39A6AF}" dt="2023-01-07T11:43:29.218" v="2185" actId="20577"/>
            <ac:spMkLst>
              <pc:docMk/>
              <pc:sldMasterMk cId="1288936597" sldId="2147483695"/>
              <pc:sldLayoutMk cId="1590156026" sldId="2147483696"/>
              <ac:spMk id="14" creationId="{88DEDB73-663D-4E69-BA2A-A35D3F0824E9}"/>
            </ac:spMkLst>
          </pc:spChg>
        </pc:sldLayoutChg>
        <pc:sldLayoutChg chg="del">
          <pc:chgData name="Frank Sylla" userId="32483385abff8a62" providerId="LiveId" clId="{619E1CD5-9D16-45DA-8535-5D202E39A6AF}" dt="2023-01-06T21:05:00.749" v="924" actId="47"/>
          <pc:sldLayoutMkLst>
            <pc:docMk/>
            <pc:sldMasterMk cId="1288936597" sldId="2147483695"/>
            <pc:sldLayoutMk cId="2907475724" sldId="2147483721"/>
          </pc:sldLayoutMkLst>
        </pc:sldLayoutChg>
        <pc:sldLayoutChg chg="del">
          <pc:chgData name="Frank Sylla" userId="32483385abff8a62" providerId="LiveId" clId="{619E1CD5-9D16-45DA-8535-5D202E39A6AF}" dt="2023-01-07T21:06:02.269" v="2742" actId="47"/>
          <pc:sldLayoutMkLst>
            <pc:docMk/>
            <pc:sldMasterMk cId="1288936597" sldId="2147483695"/>
            <pc:sldLayoutMk cId="3206239372" sldId="2147483721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7.01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7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13179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3449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9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75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573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8565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>
            <a:extLst>
              <a:ext uri="{FF2B5EF4-FFF2-40B4-BE49-F238E27FC236}">
                <a16:creationId xmlns:a16="http://schemas.microsoft.com/office/drawing/2014/main" id="{A090A392-5D86-46CB-AB83-2F4680F4A4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369" y="1440610"/>
            <a:ext cx="11235262" cy="4868115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B7B026-5292-4386-A783-313A3F975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369" y="1440610"/>
            <a:ext cx="11235262" cy="4868115"/>
          </a:xfrm>
          <a:noFill/>
        </p:spPr>
        <p:txBody>
          <a:bodyPr lIns="360000" tIns="306000" rIns="180000" bIns="144000"/>
          <a:lstStyle>
            <a:lvl1pPr marL="5381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1pPr>
            <a:lvl2pPr marL="995362" indent="-4572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2pPr>
            <a:lvl3pPr marL="1612900" indent="-536575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3pPr>
            <a:lvl4pPr marL="21510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4pPr>
            <a:lvl5pPr marL="2689225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075070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51002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ITP | 15.12.2022 | Frank Sylla</a:t>
            </a:r>
          </a:p>
        </p:txBody>
      </p:sp>
      <p:sp>
        <p:nvSpPr>
          <p:cNvPr id="13" name="SmartArt-Platzhalter 4">
            <a:extLst>
              <a:ext uri="{FF2B5EF4-FFF2-40B4-BE49-F238E27FC236}">
                <a16:creationId xmlns:a16="http://schemas.microsoft.com/office/drawing/2014/main" id="{9177B5D4-D0ED-4537-8206-0086EC2E16B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9947294" y="572400"/>
            <a:ext cx="1672306" cy="572400"/>
          </a:xfrm>
          <a:prstGeom prst="rect">
            <a:avLst/>
          </a:prstGeom>
          <a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20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48.xml"/><Relationship Id="rId21" Type="http://schemas.openxmlformats.org/officeDocument/2006/relationships/tags" Target="../tags/tag43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9" Type="http://schemas.openxmlformats.org/officeDocument/2006/relationships/tags" Target="../tags/tag51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66" Type="http://schemas.openxmlformats.org/officeDocument/2006/relationships/tags" Target="../tags/tag88.xml"/><Relationship Id="rId74" Type="http://schemas.openxmlformats.org/officeDocument/2006/relationships/tags" Target="../tags/tag96.xml"/><Relationship Id="rId5" Type="http://schemas.openxmlformats.org/officeDocument/2006/relationships/tags" Target="../tags/tag27.xml"/><Relationship Id="rId61" Type="http://schemas.openxmlformats.org/officeDocument/2006/relationships/tags" Target="../tags/tag83.xml"/><Relationship Id="rId19" Type="http://schemas.openxmlformats.org/officeDocument/2006/relationships/tags" Target="../tags/tag4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tags" Target="../tags/tag78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72" Type="http://schemas.openxmlformats.org/officeDocument/2006/relationships/tags" Target="../tags/tag94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tags" Target="../tags/tag81.xml"/><Relationship Id="rId67" Type="http://schemas.openxmlformats.org/officeDocument/2006/relationships/tags" Target="../tags/tag89.xml"/><Relationship Id="rId20" Type="http://schemas.openxmlformats.org/officeDocument/2006/relationships/tags" Target="../tags/tag42.xml"/><Relationship Id="rId41" Type="http://schemas.openxmlformats.org/officeDocument/2006/relationships/tags" Target="../tags/tag63.xml"/><Relationship Id="rId54" Type="http://schemas.openxmlformats.org/officeDocument/2006/relationships/tags" Target="../tags/tag76.xml"/><Relationship Id="rId62" Type="http://schemas.openxmlformats.org/officeDocument/2006/relationships/tags" Target="../tags/tag84.xml"/><Relationship Id="rId70" Type="http://schemas.openxmlformats.org/officeDocument/2006/relationships/tags" Target="../tags/tag92.xml"/><Relationship Id="rId75" Type="http://schemas.openxmlformats.org/officeDocument/2006/relationships/tags" Target="../tags/tag97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Relationship Id="rId10" Type="http://schemas.openxmlformats.org/officeDocument/2006/relationships/tags" Target="../tags/tag32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9" Type="http://schemas.openxmlformats.org/officeDocument/2006/relationships/tags" Target="../tags/tag61.xml"/><Relationship Id="rId34" Type="http://schemas.openxmlformats.org/officeDocument/2006/relationships/tags" Target="../tags/tag56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76" Type="http://schemas.openxmlformats.org/officeDocument/2006/relationships/slideLayout" Target="../slideLayouts/slideLayout4.xml"/><Relationship Id="rId7" Type="http://schemas.openxmlformats.org/officeDocument/2006/relationships/tags" Target="../tags/tag29.xml"/><Relationship Id="rId71" Type="http://schemas.openxmlformats.org/officeDocument/2006/relationships/tags" Target="../tags/tag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07DCF91-D10C-41DD-A752-482580D55C6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8709"/>
            <a:ext cx="12192000" cy="6572262"/>
          </a:xfrm>
        </p:spPr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9FC0098-6AC3-4648-B46C-A7E08279C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837978"/>
            <a:ext cx="12192000" cy="1376513"/>
          </a:xfrm>
        </p:spPr>
        <p:txBody>
          <a:bodyPr/>
          <a:lstStyle/>
          <a:p>
            <a:r>
              <a:rPr lang="de-DE" dirty="0"/>
              <a:t>Meilenstein 1:</a:t>
            </a:r>
            <a:br>
              <a:rPr lang="de-DE" dirty="0"/>
            </a:br>
            <a:r>
              <a:rPr lang="de-DE" dirty="0" err="1"/>
              <a:t>pflichtenheft</a:t>
            </a:r>
            <a:endParaRPr lang="de-DE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6BED134-9016-429F-88F0-55736FBB9E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311365"/>
            <a:ext cx="12192000" cy="453183"/>
          </a:xfrm>
        </p:spPr>
        <p:txBody>
          <a:bodyPr/>
          <a:lstStyle/>
          <a:p>
            <a:r>
              <a:rPr lang="de-DE" dirty="0"/>
              <a:t>Teilprojekt Onlineverwaltungstool</a:t>
            </a:r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F0478BE6-FEAF-4422-816A-9644CBB2084F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DD5EEDF-81EA-4635-A321-224809AD74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/>
              <a:t>IT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3386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>
                <a:solidFill>
                  <a:srgbClr val="FFC000"/>
                </a:solidFill>
              </a:rPr>
              <a:t>Anforderungen</a:t>
            </a:r>
            <a:r>
              <a:rPr lang="de-DE" dirty="0"/>
              <a:t>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7543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F76C7E1-0B17-4D45-32DA-03727D594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</a:t>
            </a:r>
          </a:p>
        </p:txBody>
      </p:sp>
      <p:grpSp>
        <p:nvGrpSpPr>
          <p:cNvPr id="6" name="Google Shape;80;p16">
            <a:extLst>
              <a:ext uri="{FF2B5EF4-FFF2-40B4-BE49-F238E27FC236}">
                <a16:creationId xmlns:a16="http://schemas.microsoft.com/office/drawing/2014/main" id="{67748A5C-C4EA-F322-AC4A-FAE192F2948C}"/>
              </a:ext>
            </a:extLst>
          </p:cNvPr>
          <p:cNvGrpSpPr/>
          <p:nvPr/>
        </p:nvGrpSpPr>
        <p:grpSpPr>
          <a:xfrm>
            <a:off x="677837" y="1750666"/>
            <a:ext cx="11035794" cy="4178023"/>
            <a:chOff x="508378" y="1312999"/>
            <a:chExt cx="8276845" cy="3133518"/>
          </a:xfrm>
        </p:grpSpPr>
        <p:grpSp>
          <p:nvGrpSpPr>
            <p:cNvPr id="7" name="Google Shape;81;p16">
              <a:extLst>
                <a:ext uri="{FF2B5EF4-FFF2-40B4-BE49-F238E27FC236}">
                  <a16:creationId xmlns:a16="http://schemas.microsoft.com/office/drawing/2014/main" id="{934F21C9-8294-0FC7-93C0-DFE289976CA9}"/>
                </a:ext>
              </a:extLst>
            </p:cNvPr>
            <p:cNvGrpSpPr/>
            <p:nvPr/>
          </p:nvGrpSpPr>
          <p:grpSpPr>
            <a:xfrm>
              <a:off x="508378" y="2127600"/>
              <a:ext cx="3583835" cy="1507450"/>
              <a:chOff x="508378" y="2127600"/>
              <a:chExt cx="3583835" cy="1507450"/>
            </a:xfrm>
          </p:grpSpPr>
          <p:sp>
            <p:nvSpPr>
              <p:cNvPr id="77" name="Google Shape;82;p16">
                <a:extLst>
                  <a:ext uri="{FF2B5EF4-FFF2-40B4-BE49-F238E27FC236}">
                    <a16:creationId xmlns:a16="http://schemas.microsoft.com/office/drawing/2014/main" id="{4D42579A-438F-4E5A-3090-D656AB009D94}"/>
                  </a:ext>
                </a:extLst>
              </p:cNvPr>
              <p:cNvSpPr/>
              <p:nvPr/>
            </p:nvSpPr>
            <p:spPr>
              <a:xfrm>
                <a:off x="3028913" y="2127600"/>
                <a:ext cx="1063300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2" h="60298" extrusionOk="0">
                    <a:moveTo>
                      <a:pt x="32778" y="45983"/>
                    </a:moveTo>
                    <a:lnTo>
                      <a:pt x="42532" y="40346"/>
                    </a:lnTo>
                    <a:cubicBezTo>
                      <a:pt x="39080" y="34013"/>
                      <a:pt x="38985" y="26349"/>
                      <a:pt x="42278" y="19920"/>
                    </a:cubicBezTo>
                    <a:lnTo>
                      <a:pt x="34203" y="15296"/>
                    </a:lnTo>
                    <a:cubicBezTo>
                      <a:pt x="32873" y="19255"/>
                      <a:pt x="28407" y="21218"/>
                      <a:pt x="24607" y="19508"/>
                    </a:cubicBezTo>
                    <a:cubicBezTo>
                      <a:pt x="20775" y="17766"/>
                      <a:pt x="19287" y="13143"/>
                      <a:pt x="21377" y="9533"/>
                    </a:cubicBezTo>
                    <a:cubicBezTo>
                      <a:pt x="21630" y="9089"/>
                      <a:pt x="21915" y="8709"/>
                      <a:pt x="22232" y="8361"/>
                    </a:cubicBezTo>
                    <a:lnTo>
                      <a:pt x="7727" y="0"/>
                    </a:lnTo>
                    <a:lnTo>
                      <a:pt x="4529" y="5637"/>
                    </a:lnTo>
                    <a:lnTo>
                      <a:pt x="12700" y="11686"/>
                    </a:lnTo>
                    <a:cubicBezTo>
                      <a:pt x="11528" y="14853"/>
                      <a:pt x="10673" y="18146"/>
                      <a:pt x="10134" y="21503"/>
                    </a:cubicBezTo>
                    <a:lnTo>
                      <a:pt x="0" y="22707"/>
                    </a:lnTo>
                    <a:lnTo>
                      <a:pt x="0" y="37053"/>
                    </a:lnTo>
                    <a:lnTo>
                      <a:pt x="10134" y="38288"/>
                    </a:lnTo>
                    <a:cubicBezTo>
                      <a:pt x="10673" y="41613"/>
                      <a:pt x="11528" y="44907"/>
                      <a:pt x="12700" y="48105"/>
                    </a:cubicBezTo>
                    <a:lnTo>
                      <a:pt x="4529" y="54154"/>
                    </a:lnTo>
                    <a:lnTo>
                      <a:pt x="8013" y="60298"/>
                    </a:lnTo>
                    <a:lnTo>
                      <a:pt x="24227" y="50924"/>
                    </a:lnTo>
                    <a:cubicBezTo>
                      <a:pt x="24037" y="55516"/>
                      <a:pt x="28977" y="58493"/>
                      <a:pt x="32968" y="56181"/>
                    </a:cubicBezTo>
                    <a:cubicBezTo>
                      <a:pt x="36958" y="53901"/>
                      <a:pt x="36831" y="48105"/>
                      <a:pt x="32778" y="4598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8" name="Google Shape;83;p16">
                <a:extLst>
                  <a:ext uri="{FF2B5EF4-FFF2-40B4-BE49-F238E27FC236}">
                    <a16:creationId xmlns:a16="http://schemas.microsoft.com/office/drawing/2014/main" id="{4CBADCFD-EAF9-6EF7-C3C3-99D45C1A8960}"/>
                  </a:ext>
                </a:extLst>
              </p:cNvPr>
              <p:cNvCxnSpPr/>
              <p:nvPr/>
            </p:nvCxnSpPr>
            <p:spPr>
              <a:xfrm>
                <a:off x="2315700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3" name="Google Shape;85;p16">
                <a:extLst>
                  <a:ext uri="{FF2B5EF4-FFF2-40B4-BE49-F238E27FC236}">
                    <a16:creationId xmlns:a16="http://schemas.microsoft.com/office/drawing/2014/main" id="{E1402923-A2CA-4407-8CBD-0B71C47C190F}"/>
                  </a:ext>
                </a:extLst>
              </p:cNvPr>
              <p:cNvSpPr txBox="1"/>
              <p:nvPr/>
            </p:nvSpPr>
            <p:spPr>
              <a:xfrm>
                <a:off x="508378" y="2702675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5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Oberfläche</a:t>
                </a:r>
                <a:endParaRPr sz="2667" dirty="0">
                  <a:solidFill>
                    <a:schemeClr val="accent5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80" name="Google Shape;87;p16">
                <a:extLst>
                  <a:ext uri="{FF2B5EF4-FFF2-40B4-BE49-F238E27FC236}">
                    <a16:creationId xmlns:a16="http://schemas.microsoft.com/office/drawing/2014/main" id="{7D3221EC-9809-A939-261B-AD08DB4CCF06}"/>
                  </a:ext>
                </a:extLst>
              </p:cNvPr>
              <p:cNvGrpSpPr/>
              <p:nvPr/>
            </p:nvGrpSpPr>
            <p:grpSpPr>
              <a:xfrm>
                <a:off x="2176350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81" name="Google Shape;88;p16">
                  <a:extLst>
                    <a:ext uri="{FF2B5EF4-FFF2-40B4-BE49-F238E27FC236}">
                      <a16:creationId xmlns:a16="http://schemas.microsoft.com/office/drawing/2014/main" id="{7B4E9DAE-E655-966E-8C8F-B957261C82F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82" name="Google Shape;89;p16">
                  <a:extLst>
                    <a:ext uri="{FF2B5EF4-FFF2-40B4-BE49-F238E27FC236}">
                      <a16:creationId xmlns:a16="http://schemas.microsoft.com/office/drawing/2014/main" id="{51CF8FA6-0C37-8FF7-A0D6-8B0F6053D82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8" name="Google Shape;90;p16">
              <a:extLst>
                <a:ext uri="{FF2B5EF4-FFF2-40B4-BE49-F238E27FC236}">
                  <a16:creationId xmlns:a16="http://schemas.microsoft.com/office/drawing/2014/main" id="{3730632D-E83E-7397-361A-D2A72F8D4370}"/>
                </a:ext>
              </a:extLst>
            </p:cNvPr>
            <p:cNvGrpSpPr/>
            <p:nvPr/>
          </p:nvGrpSpPr>
          <p:grpSpPr>
            <a:xfrm>
              <a:off x="1062181" y="3171075"/>
              <a:ext cx="3741807" cy="1272824"/>
              <a:chOff x="1062181" y="3171075"/>
              <a:chExt cx="3741807" cy="1272824"/>
            </a:xfrm>
          </p:grpSpPr>
          <p:sp>
            <p:nvSpPr>
              <p:cNvPr id="69" name="Google Shape;91;p16">
                <a:extLst>
                  <a:ext uri="{FF2B5EF4-FFF2-40B4-BE49-F238E27FC236}">
                    <a16:creationId xmlns:a16="http://schemas.microsoft.com/office/drawing/2014/main" id="{435B3085-2E3A-8323-6968-3CFA3FCA1691}"/>
                  </a:ext>
                </a:extLst>
              </p:cNvPr>
              <p:cNvSpPr/>
              <p:nvPr/>
            </p:nvSpPr>
            <p:spPr>
              <a:xfrm>
                <a:off x="3249788" y="3171075"/>
                <a:ext cx="1554200" cy="1246200"/>
              </a:xfrm>
              <a:custGeom>
                <a:avLst/>
                <a:gdLst/>
                <a:ahLst/>
                <a:cxnLst/>
                <a:rect l="l" t="t" r="r" b="b"/>
                <a:pathLst>
                  <a:path w="62168" h="49848" extrusionOk="0">
                    <a:moveTo>
                      <a:pt x="55453" y="20364"/>
                    </a:moveTo>
                    <a:cubicBezTo>
                      <a:pt x="54250" y="20364"/>
                      <a:pt x="53047" y="20744"/>
                      <a:pt x="52065" y="21472"/>
                    </a:cubicBezTo>
                    <a:lnTo>
                      <a:pt x="52065" y="9977"/>
                    </a:lnTo>
                    <a:cubicBezTo>
                      <a:pt x="44939" y="9723"/>
                      <a:pt x="38415" y="5986"/>
                      <a:pt x="34552" y="1"/>
                    </a:cubicBezTo>
                    <a:lnTo>
                      <a:pt x="26476" y="4688"/>
                    </a:lnTo>
                    <a:cubicBezTo>
                      <a:pt x="29263" y="7791"/>
                      <a:pt x="28725" y="12637"/>
                      <a:pt x="25336" y="15107"/>
                    </a:cubicBezTo>
                    <a:cubicBezTo>
                      <a:pt x="21916" y="17545"/>
                      <a:pt x="17166" y="16532"/>
                      <a:pt x="15075" y="12890"/>
                    </a:cubicBezTo>
                    <a:cubicBezTo>
                      <a:pt x="14822" y="12478"/>
                      <a:pt x="14632" y="12035"/>
                      <a:pt x="14474" y="11592"/>
                    </a:cubicBezTo>
                    <a:lnTo>
                      <a:pt x="1" y="19952"/>
                    </a:lnTo>
                    <a:lnTo>
                      <a:pt x="2756" y="24861"/>
                    </a:lnTo>
                    <a:lnTo>
                      <a:pt x="12130" y="20934"/>
                    </a:lnTo>
                    <a:cubicBezTo>
                      <a:pt x="14474" y="23879"/>
                      <a:pt x="17134" y="26539"/>
                      <a:pt x="20079" y="28883"/>
                    </a:cubicBezTo>
                    <a:lnTo>
                      <a:pt x="16152" y="38257"/>
                    </a:lnTo>
                    <a:lnTo>
                      <a:pt x="28630" y="45319"/>
                    </a:lnTo>
                    <a:lnTo>
                      <a:pt x="34647" y="37148"/>
                    </a:lnTo>
                    <a:cubicBezTo>
                      <a:pt x="37845" y="38352"/>
                      <a:pt x="41139" y="39207"/>
                      <a:pt x="44496" y="39745"/>
                    </a:cubicBezTo>
                    <a:lnTo>
                      <a:pt x="45699" y="49848"/>
                    </a:lnTo>
                    <a:lnTo>
                      <a:pt x="52033" y="49848"/>
                    </a:lnTo>
                    <a:lnTo>
                      <a:pt x="52033" y="30941"/>
                    </a:lnTo>
                    <a:cubicBezTo>
                      <a:pt x="55263" y="33221"/>
                      <a:pt x="59792" y="31733"/>
                      <a:pt x="60996" y="27964"/>
                    </a:cubicBezTo>
                    <a:cubicBezTo>
                      <a:pt x="62167" y="24196"/>
                      <a:pt x="59380" y="20364"/>
                      <a:pt x="55422" y="2036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0" name="Google Shape;92;p16">
                <a:extLst>
                  <a:ext uri="{FF2B5EF4-FFF2-40B4-BE49-F238E27FC236}">
                    <a16:creationId xmlns:a16="http://schemas.microsoft.com/office/drawing/2014/main" id="{78D4C559-5E4E-C013-9C08-57163568537F}"/>
                  </a:ext>
                </a:extLst>
              </p:cNvPr>
              <p:cNvCxnSpPr/>
              <p:nvPr/>
            </p:nvCxnSpPr>
            <p:spPr>
              <a:xfrm flipH="1">
                <a:off x="2311444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75" name="Google Shape;94;p16">
                <a:extLst>
                  <a:ext uri="{FF2B5EF4-FFF2-40B4-BE49-F238E27FC236}">
                    <a16:creationId xmlns:a16="http://schemas.microsoft.com/office/drawing/2014/main" id="{45301A8A-2161-B350-E1DD-A4D08F859F54}"/>
                  </a:ext>
                </a:extLst>
              </p:cNvPr>
              <p:cNvSpPr txBox="1"/>
              <p:nvPr/>
            </p:nvSpPr>
            <p:spPr>
              <a:xfrm>
                <a:off x="1062181" y="4113899"/>
                <a:ext cx="1155753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4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rucken</a:t>
                </a:r>
                <a:endParaRPr sz="2667" dirty="0">
                  <a:solidFill>
                    <a:schemeClr val="accent4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72" name="Google Shape;96;p16">
                <a:extLst>
                  <a:ext uri="{FF2B5EF4-FFF2-40B4-BE49-F238E27FC236}">
                    <a16:creationId xmlns:a16="http://schemas.microsoft.com/office/drawing/2014/main" id="{6CAF1295-8033-2C42-9466-312C99BBE3B6}"/>
                  </a:ext>
                </a:extLst>
              </p:cNvPr>
              <p:cNvGrpSpPr/>
              <p:nvPr/>
            </p:nvGrpSpPr>
            <p:grpSpPr>
              <a:xfrm>
                <a:off x="2176350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73" name="Google Shape;97;p16">
                  <a:extLst>
                    <a:ext uri="{FF2B5EF4-FFF2-40B4-BE49-F238E27FC236}">
                      <a16:creationId xmlns:a16="http://schemas.microsoft.com/office/drawing/2014/main" id="{95940335-6FDD-6C64-7D33-D3A09745CE5C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74" name="Google Shape;98;p16">
                  <a:extLst>
                    <a:ext uri="{FF2B5EF4-FFF2-40B4-BE49-F238E27FC236}">
                      <a16:creationId xmlns:a16="http://schemas.microsoft.com/office/drawing/2014/main" id="{40297032-4312-91BD-3F76-B600F46FB6FA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9" name="Google Shape;99;p16">
              <a:extLst>
                <a:ext uri="{FF2B5EF4-FFF2-40B4-BE49-F238E27FC236}">
                  <a16:creationId xmlns:a16="http://schemas.microsoft.com/office/drawing/2014/main" id="{621A7840-3DB3-E7E7-A42F-CE36012C2AA8}"/>
                </a:ext>
              </a:extLst>
            </p:cNvPr>
            <p:cNvGrpSpPr/>
            <p:nvPr/>
          </p:nvGrpSpPr>
          <p:grpSpPr>
            <a:xfrm>
              <a:off x="4592563" y="3106950"/>
              <a:ext cx="4192660" cy="1339567"/>
              <a:chOff x="4592563" y="3106950"/>
              <a:chExt cx="4192660" cy="1339567"/>
            </a:xfrm>
          </p:grpSpPr>
          <p:sp>
            <p:nvSpPr>
              <p:cNvPr id="61" name="Google Shape;100;p16">
                <a:extLst>
                  <a:ext uri="{FF2B5EF4-FFF2-40B4-BE49-F238E27FC236}">
                    <a16:creationId xmlns:a16="http://schemas.microsoft.com/office/drawing/2014/main" id="{C83FEA7C-5527-3C56-3FBE-144864FCB606}"/>
                  </a:ext>
                </a:extLst>
              </p:cNvPr>
              <p:cNvSpPr/>
              <p:nvPr/>
            </p:nvSpPr>
            <p:spPr>
              <a:xfrm>
                <a:off x="4592563" y="3106950"/>
                <a:ext cx="1302425" cy="1310325"/>
              </a:xfrm>
              <a:custGeom>
                <a:avLst/>
                <a:gdLst/>
                <a:ahLst/>
                <a:cxnLst/>
                <a:rect l="l" t="t" r="r" b="b"/>
                <a:pathLst>
                  <a:path w="52097" h="52413" extrusionOk="0">
                    <a:moveTo>
                      <a:pt x="35533" y="12953"/>
                    </a:moveTo>
                    <a:cubicBezTo>
                      <a:pt x="40094" y="11211"/>
                      <a:pt x="40600" y="4909"/>
                      <a:pt x="36357" y="2471"/>
                    </a:cubicBezTo>
                    <a:cubicBezTo>
                      <a:pt x="32081" y="1"/>
                      <a:pt x="26888" y="3579"/>
                      <a:pt x="27679" y="8425"/>
                    </a:cubicBezTo>
                    <a:lnTo>
                      <a:pt x="17514" y="2566"/>
                    </a:lnTo>
                    <a:cubicBezTo>
                      <a:pt x="13650" y="8551"/>
                      <a:pt x="7126" y="12288"/>
                      <a:pt x="1" y="12542"/>
                    </a:cubicBezTo>
                    <a:lnTo>
                      <a:pt x="1" y="21915"/>
                    </a:lnTo>
                    <a:cubicBezTo>
                      <a:pt x="4466" y="20775"/>
                      <a:pt x="8805" y="24164"/>
                      <a:pt x="8805" y="28788"/>
                    </a:cubicBezTo>
                    <a:cubicBezTo>
                      <a:pt x="8805" y="33380"/>
                      <a:pt x="4466" y="36768"/>
                      <a:pt x="1" y="35628"/>
                    </a:cubicBezTo>
                    <a:lnTo>
                      <a:pt x="1" y="52413"/>
                    </a:lnTo>
                    <a:lnTo>
                      <a:pt x="6334" y="52413"/>
                    </a:lnTo>
                    <a:lnTo>
                      <a:pt x="7570" y="42310"/>
                    </a:lnTo>
                    <a:cubicBezTo>
                      <a:pt x="10895" y="41772"/>
                      <a:pt x="14188" y="40917"/>
                      <a:pt x="17387" y="39713"/>
                    </a:cubicBezTo>
                    <a:lnTo>
                      <a:pt x="23436" y="47916"/>
                    </a:lnTo>
                    <a:lnTo>
                      <a:pt x="35913" y="40822"/>
                    </a:lnTo>
                    <a:lnTo>
                      <a:pt x="31986" y="31479"/>
                    </a:lnTo>
                    <a:cubicBezTo>
                      <a:pt x="34932" y="29104"/>
                      <a:pt x="37592" y="26444"/>
                      <a:pt x="39967" y="23499"/>
                    </a:cubicBezTo>
                    <a:lnTo>
                      <a:pt x="49309" y="27426"/>
                    </a:lnTo>
                    <a:lnTo>
                      <a:pt x="52096" y="2251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62" name="Google Shape;101;p16">
                <a:extLst>
                  <a:ext uri="{FF2B5EF4-FFF2-40B4-BE49-F238E27FC236}">
                    <a16:creationId xmlns:a16="http://schemas.microsoft.com/office/drawing/2014/main" id="{FED8C8A7-EBDE-1BED-12FB-615CA8A4506E}"/>
                  </a:ext>
                </a:extLst>
              </p:cNvPr>
              <p:cNvCxnSpPr/>
              <p:nvPr/>
            </p:nvCxnSpPr>
            <p:spPr>
              <a:xfrm>
                <a:off x="5302581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67" name="Google Shape;103;p16">
                <a:extLst>
                  <a:ext uri="{FF2B5EF4-FFF2-40B4-BE49-F238E27FC236}">
                    <a16:creationId xmlns:a16="http://schemas.microsoft.com/office/drawing/2014/main" id="{DA24DC22-CB2F-BB13-B4F5-0DD2E70B3DB0}"/>
                  </a:ext>
                </a:extLst>
              </p:cNvPr>
              <p:cNvSpPr txBox="1"/>
              <p:nvPr/>
            </p:nvSpPr>
            <p:spPr>
              <a:xfrm>
                <a:off x="6930971" y="4116517"/>
                <a:ext cx="1854252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3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Rollen/Rechte</a:t>
                </a:r>
                <a:endParaRPr sz="2667" dirty="0">
                  <a:solidFill>
                    <a:schemeClr val="accent3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64" name="Google Shape;105;p16">
                <a:extLst>
                  <a:ext uri="{FF2B5EF4-FFF2-40B4-BE49-F238E27FC236}">
                    <a16:creationId xmlns:a16="http://schemas.microsoft.com/office/drawing/2014/main" id="{3FB6C3B4-6CF4-8C15-A26E-B067A1AEF39A}"/>
                  </a:ext>
                </a:extLst>
              </p:cNvPr>
              <p:cNvGrpSpPr/>
              <p:nvPr/>
            </p:nvGrpSpPr>
            <p:grpSpPr>
              <a:xfrm>
                <a:off x="6693225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65" name="Google Shape;106;p16">
                  <a:extLst>
                    <a:ext uri="{FF2B5EF4-FFF2-40B4-BE49-F238E27FC236}">
                      <a16:creationId xmlns:a16="http://schemas.microsoft.com/office/drawing/2014/main" id="{8FCD3EF0-5629-B84F-12E4-B53CA82ED62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66" name="Google Shape;107;p16">
                  <a:extLst>
                    <a:ext uri="{FF2B5EF4-FFF2-40B4-BE49-F238E27FC236}">
                      <a16:creationId xmlns:a16="http://schemas.microsoft.com/office/drawing/2014/main" id="{036BB9CA-A64F-D021-8950-B4BF6A41E94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0" name="Google Shape;108;p16">
              <a:extLst>
                <a:ext uri="{FF2B5EF4-FFF2-40B4-BE49-F238E27FC236}">
                  <a16:creationId xmlns:a16="http://schemas.microsoft.com/office/drawing/2014/main" id="{F93369F2-6BD0-4F80-7020-EE01034F3171}"/>
                </a:ext>
              </a:extLst>
            </p:cNvPr>
            <p:cNvGrpSpPr/>
            <p:nvPr/>
          </p:nvGrpSpPr>
          <p:grpSpPr>
            <a:xfrm>
              <a:off x="5051763" y="2127600"/>
              <a:ext cx="3564811" cy="1507450"/>
              <a:chOff x="5051763" y="2127600"/>
              <a:chExt cx="3564811" cy="1507450"/>
            </a:xfrm>
          </p:grpSpPr>
          <p:sp>
            <p:nvSpPr>
              <p:cNvPr id="53" name="Google Shape;109;p16">
                <a:extLst>
                  <a:ext uri="{FF2B5EF4-FFF2-40B4-BE49-F238E27FC236}">
                    <a16:creationId xmlns:a16="http://schemas.microsoft.com/office/drawing/2014/main" id="{8F5B9CAA-4AE4-2AEB-F1DB-A91C056BC2A4}"/>
                  </a:ext>
                </a:extLst>
              </p:cNvPr>
              <p:cNvSpPr/>
              <p:nvPr/>
            </p:nvSpPr>
            <p:spPr>
              <a:xfrm>
                <a:off x="5051763" y="2127600"/>
                <a:ext cx="1063325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3" h="60298" extrusionOk="0">
                    <a:moveTo>
                      <a:pt x="32430" y="38256"/>
                    </a:moveTo>
                    <a:lnTo>
                      <a:pt x="42532" y="37053"/>
                    </a:lnTo>
                    <a:lnTo>
                      <a:pt x="42532" y="22738"/>
                    </a:lnTo>
                    <a:lnTo>
                      <a:pt x="32430" y="21503"/>
                    </a:lnTo>
                    <a:cubicBezTo>
                      <a:pt x="31860" y="18146"/>
                      <a:pt x="31005" y="14853"/>
                      <a:pt x="29833" y="11686"/>
                    </a:cubicBezTo>
                    <a:lnTo>
                      <a:pt x="38004" y="5637"/>
                    </a:lnTo>
                    <a:lnTo>
                      <a:pt x="34805" y="0"/>
                    </a:lnTo>
                    <a:lnTo>
                      <a:pt x="18242" y="9533"/>
                    </a:lnTo>
                    <a:cubicBezTo>
                      <a:pt x="19002" y="4687"/>
                      <a:pt x="13808" y="1140"/>
                      <a:pt x="9565" y="3579"/>
                    </a:cubicBezTo>
                    <a:cubicBezTo>
                      <a:pt x="5289" y="6049"/>
                      <a:pt x="5796" y="12351"/>
                      <a:pt x="10388" y="14093"/>
                    </a:cubicBezTo>
                    <a:lnTo>
                      <a:pt x="254" y="19952"/>
                    </a:lnTo>
                    <a:cubicBezTo>
                      <a:pt x="3548" y="26380"/>
                      <a:pt x="3453" y="34013"/>
                      <a:pt x="1" y="40378"/>
                    </a:cubicBezTo>
                    <a:lnTo>
                      <a:pt x="8171" y="45097"/>
                    </a:lnTo>
                    <a:cubicBezTo>
                      <a:pt x="9280" y="40505"/>
                      <a:pt x="14473" y="38256"/>
                      <a:pt x="18559" y="40600"/>
                    </a:cubicBezTo>
                    <a:cubicBezTo>
                      <a:pt x="22644" y="42975"/>
                      <a:pt x="23341" y="48580"/>
                      <a:pt x="19921" y="51842"/>
                    </a:cubicBezTo>
                    <a:lnTo>
                      <a:pt x="34552" y="60298"/>
                    </a:lnTo>
                    <a:lnTo>
                      <a:pt x="38004" y="54154"/>
                    </a:lnTo>
                    <a:lnTo>
                      <a:pt x="29833" y="48105"/>
                    </a:lnTo>
                    <a:cubicBezTo>
                      <a:pt x="31005" y="44907"/>
                      <a:pt x="31860" y="41613"/>
                      <a:pt x="32430" y="3825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54" name="Google Shape;110;p16">
                <a:extLst>
                  <a:ext uri="{FF2B5EF4-FFF2-40B4-BE49-F238E27FC236}">
                    <a16:creationId xmlns:a16="http://schemas.microsoft.com/office/drawing/2014/main" id="{74463C39-1551-001D-0F0C-A01793BCF2AC}"/>
                  </a:ext>
                </a:extLst>
              </p:cNvPr>
              <p:cNvCxnSpPr/>
              <p:nvPr/>
            </p:nvCxnSpPr>
            <p:spPr>
              <a:xfrm>
                <a:off x="5862975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9" name="Google Shape;112;p16">
                <a:extLst>
                  <a:ext uri="{FF2B5EF4-FFF2-40B4-BE49-F238E27FC236}">
                    <a16:creationId xmlns:a16="http://schemas.microsoft.com/office/drawing/2014/main" id="{F7F50E52-DF41-4A88-0875-E647A95C2ABA}"/>
                  </a:ext>
                </a:extLst>
              </p:cNvPr>
              <p:cNvSpPr txBox="1"/>
              <p:nvPr/>
            </p:nvSpPr>
            <p:spPr>
              <a:xfrm>
                <a:off x="6904474" y="271345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2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Funktionen</a:t>
                </a:r>
                <a:endParaRPr sz="2667" dirty="0">
                  <a:solidFill>
                    <a:schemeClr val="accent2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56" name="Google Shape;114;p16">
                <a:extLst>
                  <a:ext uri="{FF2B5EF4-FFF2-40B4-BE49-F238E27FC236}">
                    <a16:creationId xmlns:a16="http://schemas.microsoft.com/office/drawing/2014/main" id="{437231D8-6681-FFB6-46DC-976B3593B910}"/>
                  </a:ext>
                </a:extLst>
              </p:cNvPr>
              <p:cNvGrpSpPr/>
              <p:nvPr/>
            </p:nvGrpSpPr>
            <p:grpSpPr>
              <a:xfrm>
                <a:off x="6688975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57" name="Google Shape;115;p16">
                  <a:extLst>
                    <a:ext uri="{FF2B5EF4-FFF2-40B4-BE49-F238E27FC236}">
                      <a16:creationId xmlns:a16="http://schemas.microsoft.com/office/drawing/2014/main" id="{86BCF511-2563-566F-68DF-D87CD3577720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8" name="Google Shape;116;p16">
                  <a:extLst>
                    <a:ext uri="{FF2B5EF4-FFF2-40B4-BE49-F238E27FC236}">
                      <a16:creationId xmlns:a16="http://schemas.microsoft.com/office/drawing/2014/main" id="{B102D623-5C13-FF73-E38D-85427FD21C62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1" name="Google Shape;117;p16">
              <a:extLst>
                <a:ext uri="{FF2B5EF4-FFF2-40B4-BE49-F238E27FC236}">
                  <a16:creationId xmlns:a16="http://schemas.microsoft.com/office/drawing/2014/main" id="{C37A45D3-5EC7-696E-7E78-7D1E8B6C5030}"/>
                </a:ext>
              </a:extLst>
            </p:cNvPr>
            <p:cNvGrpSpPr/>
            <p:nvPr/>
          </p:nvGrpSpPr>
          <p:grpSpPr>
            <a:xfrm>
              <a:off x="4362163" y="1331925"/>
              <a:ext cx="4257724" cy="1258050"/>
              <a:chOff x="4362163" y="1331925"/>
              <a:chExt cx="4257724" cy="1258050"/>
            </a:xfrm>
          </p:grpSpPr>
          <p:sp>
            <p:nvSpPr>
              <p:cNvPr id="45" name="Google Shape;118;p16">
                <a:extLst>
                  <a:ext uri="{FF2B5EF4-FFF2-40B4-BE49-F238E27FC236}">
                    <a16:creationId xmlns:a16="http://schemas.microsoft.com/office/drawing/2014/main" id="{7F1BFB2F-54DF-9F34-3DF0-75FF041EBA1C}"/>
                  </a:ext>
                </a:extLst>
              </p:cNvPr>
              <p:cNvSpPr/>
              <p:nvPr/>
            </p:nvSpPr>
            <p:spPr>
              <a:xfrm>
                <a:off x="4362163" y="1331925"/>
                <a:ext cx="1539150" cy="1258050"/>
              </a:xfrm>
              <a:custGeom>
                <a:avLst/>
                <a:gdLst/>
                <a:ahLst/>
                <a:cxnLst/>
                <a:rect l="l" t="t" r="r" b="b"/>
                <a:pathLst>
                  <a:path w="61566" h="50322" extrusionOk="0">
                    <a:moveTo>
                      <a:pt x="33982" y="44020"/>
                    </a:moveTo>
                    <a:cubicBezTo>
                      <a:pt x="31828" y="40314"/>
                      <a:pt x="33475" y="35532"/>
                      <a:pt x="37465" y="33917"/>
                    </a:cubicBezTo>
                    <a:cubicBezTo>
                      <a:pt x="41456" y="32334"/>
                      <a:pt x="45953" y="34646"/>
                      <a:pt x="46966" y="38826"/>
                    </a:cubicBezTo>
                    <a:lnTo>
                      <a:pt x="61566" y="30402"/>
                    </a:lnTo>
                    <a:lnTo>
                      <a:pt x="58525" y="24987"/>
                    </a:lnTo>
                    <a:lnTo>
                      <a:pt x="49151" y="28914"/>
                    </a:lnTo>
                    <a:cubicBezTo>
                      <a:pt x="46776" y="25968"/>
                      <a:pt x="44116" y="23308"/>
                      <a:pt x="41202" y="20933"/>
                    </a:cubicBezTo>
                    <a:lnTo>
                      <a:pt x="45129" y="11591"/>
                    </a:lnTo>
                    <a:lnTo>
                      <a:pt x="32652" y="4529"/>
                    </a:lnTo>
                    <a:lnTo>
                      <a:pt x="26603" y="12699"/>
                    </a:lnTo>
                    <a:cubicBezTo>
                      <a:pt x="23436" y="11527"/>
                      <a:pt x="20142" y="10641"/>
                      <a:pt x="16786" y="10102"/>
                    </a:cubicBezTo>
                    <a:lnTo>
                      <a:pt x="15550" y="0"/>
                    </a:lnTo>
                    <a:lnTo>
                      <a:pt x="9217" y="0"/>
                    </a:lnTo>
                    <a:lnTo>
                      <a:pt x="9217" y="18906"/>
                    </a:lnTo>
                    <a:cubicBezTo>
                      <a:pt x="5353" y="16151"/>
                      <a:pt x="1" y="18906"/>
                      <a:pt x="1" y="23657"/>
                    </a:cubicBezTo>
                    <a:cubicBezTo>
                      <a:pt x="1" y="28407"/>
                      <a:pt x="5353" y="31162"/>
                      <a:pt x="9217" y="28407"/>
                    </a:cubicBezTo>
                    <a:lnTo>
                      <a:pt x="9217" y="39871"/>
                    </a:lnTo>
                    <a:cubicBezTo>
                      <a:pt x="16532" y="40156"/>
                      <a:pt x="23246" y="44083"/>
                      <a:pt x="27046" y="50322"/>
                    </a:cubicBezTo>
                    <a:lnTo>
                      <a:pt x="35249" y="45603"/>
                    </a:lnTo>
                    <a:cubicBezTo>
                      <a:pt x="34742" y="45128"/>
                      <a:pt x="34330" y="44621"/>
                      <a:pt x="33982" y="440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46" name="Google Shape;119;p16">
                <a:extLst>
                  <a:ext uri="{FF2B5EF4-FFF2-40B4-BE49-F238E27FC236}">
                    <a16:creationId xmlns:a16="http://schemas.microsoft.com/office/drawing/2014/main" id="{C225C21F-73D8-797F-5402-84AFEAAF69B3}"/>
                  </a:ext>
                </a:extLst>
              </p:cNvPr>
              <p:cNvCxnSpPr/>
              <p:nvPr/>
            </p:nvCxnSpPr>
            <p:spPr>
              <a:xfrm rot="10800000" flipH="1">
                <a:off x="5302581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1" name="Google Shape;121;p16">
                <a:extLst>
                  <a:ext uri="{FF2B5EF4-FFF2-40B4-BE49-F238E27FC236}">
                    <a16:creationId xmlns:a16="http://schemas.microsoft.com/office/drawing/2014/main" id="{5079E9FD-C737-7A16-1293-F70FA30BB2D6}"/>
                  </a:ext>
                </a:extLst>
              </p:cNvPr>
              <p:cNvSpPr txBox="1"/>
              <p:nvPr/>
            </p:nvSpPr>
            <p:spPr>
              <a:xfrm>
                <a:off x="6907787" y="145230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1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Parkausweis-design</a:t>
                </a:r>
                <a:endParaRPr sz="2667" dirty="0">
                  <a:solidFill>
                    <a:schemeClr val="accent1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48" name="Google Shape;123;p16">
                <a:extLst>
                  <a:ext uri="{FF2B5EF4-FFF2-40B4-BE49-F238E27FC236}">
                    <a16:creationId xmlns:a16="http://schemas.microsoft.com/office/drawing/2014/main" id="{D2C379E4-A13B-EF23-5DD0-A58E92A58467}"/>
                  </a:ext>
                </a:extLst>
              </p:cNvPr>
              <p:cNvGrpSpPr/>
              <p:nvPr/>
            </p:nvGrpSpPr>
            <p:grpSpPr>
              <a:xfrm>
                <a:off x="6693225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9" name="Google Shape;124;p16">
                  <a:extLst>
                    <a:ext uri="{FF2B5EF4-FFF2-40B4-BE49-F238E27FC236}">
                      <a16:creationId xmlns:a16="http://schemas.microsoft.com/office/drawing/2014/main" id="{BB97C745-6F09-5614-8715-12884AEE86D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0" name="Google Shape;125;p16">
                  <a:extLst>
                    <a:ext uri="{FF2B5EF4-FFF2-40B4-BE49-F238E27FC236}">
                      <a16:creationId xmlns:a16="http://schemas.microsoft.com/office/drawing/2014/main" id="{2941CD6E-8FC4-C6BF-BD7B-32CD83966693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2" name="Google Shape;126;p16">
              <a:extLst>
                <a:ext uri="{FF2B5EF4-FFF2-40B4-BE49-F238E27FC236}">
                  <a16:creationId xmlns:a16="http://schemas.microsoft.com/office/drawing/2014/main" id="{E3A2F0E4-E4C0-761B-D7E2-76299A70F3D2}"/>
                </a:ext>
              </a:extLst>
            </p:cNvPr>
            <p:cNvGrpSpPr/>
            <p:nvPr/>
          </p:nvGrpSpPr>
          <p:grpSpPr>
            <a:xfrm>
              <a:off x="523175" y="1312999"/>
              <a:ext cx="4028238" cy="1312601"/>
              <a:chOff x="523175" y="1312999"/>
              <a:chExt cx="4028238" cy="1312601"/>
            </a:xfrm>
          </p:grpSpPr>
          <p:sp>
            <p:nvSpPr>
              <p:cNvPr id="37" name="Google Shape;127;p16">
                <a:extLst>
                  <a:ext uri="{FF2B5EF4-FFF2-40B4-BE49-F238E27FC236}">
                    <a16:creationId xmlns:a16="http://schemas.microsoft.com/office/drawing/2014/main" id="{0F0741EA-22AC-01CA-E79D-FDBE10738088}"/>
                  </a:ext>
                </a:extLst>
              </p:cNvPr>
              <p:cNvSpPr/>
              <p:nvPr/>
            </p:nvSpPr>
            <p:spPr>
              <a:xfrm>
                <a:off x="3242663" y="1331925"/>
                <a:ext cx="1308750" cy="1293675"/>
              </a:xfrm>
              <a:custGeom>
                <a:avLst/>
                <a:gdLst/>
                <a:ahLst/>
                <a:cxnLst/>
                <a:rect l="l" t="t" r="r" b="b"/>
                <a:pathLst>
                  <a:path w="52350" h="51747" extrusionOk="0">
                    <a:moveTo>
                      <a:pt x="50640" y="16594"/>
                    </a:moveTo>
                    <a:cubicBezTo>
                      <a:pt x="51241" y="16594"/>
                      <a:pt x="51811" y="16658"/>
                      <a:pt x="52350" y="16816"/>
                    </a:cubicBezTo>
                    <a:lnTo>
                      <a:pt x="52350" y="0"/>
                    </a:lnTo>
                    <a:lnTo>
                      <a:pt x="46016" y="0"/>
                    </a:lnTo>
                    <a:lnTo>
                      <a:pt x="44781" y="10102"/>
                    </a:lnTo>
                    <a:cubicBezTo>
                      <a:pt x="41424" y="10641"/>
                      <a:pt x="38130" y="11527"/>
                      <a:pt x="34964" y="12699"/>
                    </a:cubicBezTo>
                    <a:lnTo>
                      <a:pt x="28915" y="4529"/>
                    </a:lnTo>
                    <a:lnTo>
                      <a:pt x="16469" y="11591"/>
                    </a:lnTo>
                    <a:lnTo>
                      <a:pt x="20364" y="20965"/>
                    </a:lnTo>
                    <a:cubicBezTo>
                      <a:pt x="17451" y="23308"/>
                      <a:pt x="14790" y="25968"/>
                      <a:pt x="12415" y="28914"/>
                    </a:cubicBezTo>
                    <a:lnTo>
                      <a:pt x="3073" y="24987"/>
                    </a:lnTo>
                    <a:lnTo>
                      <a:pt x="1" y="30370"/>
                    </a:lnTo>
                    <a:lnTo>
                      <a:pt x="16215" y="39744"/>
                    </a:lnTo>
                    <a:cubicBezTo>
                      <a:pt x="12764" y="41550"/>
                      <a:pt x="12035" y="46142"/>
                      <a:pt x="14727" y="48960"/>
                    </a:cubicBezTo>
                    <a:cubicBezTo>
                      <a:pt x="17419" y="51747"/>
                      <a:pt x="22043" y="51177"/>
                      <a:pt x="23974" y="47788"/>
                    </a:cubicBezTo>
                    <a:cubicBezTo>
                      <a:pt x="24544" y="46838"/>
                      <a:pt x="24798" y="45762"/>
                      <a:pt x="24766" y="44685"/>
                    </a:cubicBezTo>
                    <a:lnTo>
                      <a:pt x="34520" y="50322"/>
                    </a:lnTo>
                    <a:cubicBezTo>
                      <a:pt x="38320" y="44051"/>
                      <a:pt x="45034" y="40124"/>
                      <a:pt x="52350" y="39871"/>
                    </a:cubicBezTo>
                    <a:lnTo>
                      <a:pt x="52350" y="30497"/>
                    </a:lnTo>
                    <a:cubicBezTo>
                      <a:pt x="51811" y="30624"/>
                      <a:pt x="51241" y="30687"/>
                      <a:pt x="50640" y="30687"/>
                    </a:cubicBezTo>
                    <a:cubicBezTo>
                      <a:pt x="46744" y="30687"/>
                      <a:pt x="43578" y="27552"/>
                      <a:pt x="43578" y="23625"/>
                    </a:cubicBezTo>
                    <a:cubicBezTo>
                      <a:pt x="43578" y="19730"/>
                      <a:pt x="46744" y="16563"/>
                      <a:pt x="50640" y="1656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3" name="Google Shape;129;p16">
                <a:extLst>
                  <a:ext uri="{FF2B5EF4-FFF2-40B4-BE49-F238E27FC236}">
                    <a16:creationId xmlns:a16="http://schemas.microsoft.com/office/drawing/2014/main" id="{12D991F6-A229-FE4C-999F-F2F08A213029}"/>
                  </a:ext>
                </a:extLst>
              </p:cNvPr>
              <p:cNvSpPr txBox="1"/>
              <p:nvPr/>
            </p:nvSpPr>
            <p:spPr>
              <a:xfrm>
                <a:off x="523175" y="1312999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6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atenbank</a:t>
                </a:r>
                <a:endParaRPr sz="2667" dirty="0">
                  <a:solidFill>
                    <a:schemeClr val="accent6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cxnSp>
            <p:nvCxnSpPr>
              <p:cNvPr id="39" name="Google Shape;131;p16">
                <a:extLst>
                  <a:ext uri="{FF2B5EF4-FFF2-40B4-BE49-F238E27FC236}">
                    <a16:creationId xmlns:a16="http://schemas.microsoft.com/office/drawing/2014/main" id="{F513C0E9-2460-6699-CE09-068E3C90CDA5}"/>
                  </a:ext>
                </a:extLst>
              </p:cNvPr>
              <p:cNvCxnSpPr/>
              <p:nvPr/>
            </p:nvCxnSpPr>
            <p:spPr>
              <a:xfrm rot="10800000">
                <a:off x="2311444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40" name="Google Shape;132;p16">
                <a:extLst>
                  <a:ext uri="{FF2B5EF4-FFF2-40B4-BE49-F238E27FC236}">
                    <a16:creationId xmlns:a16="http://schemas.microsoft.com/office/drawing/2014/main" id="{6AF67FC7-3D21-71C3-91AD-0C41F88F2F64}"/>
                  </a:ext>
                </a:extLst>
              </p:cNvPr>
              <p:cNvGrpSpPr/>
              <p:nvPr/>
            </p:nvGrpSpPr>
            <p:grpSpPr>
              <a:xfrm>
                <a:off x="2176350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1" name="Google Shape;133;p16">
                  <a:extLst>
                    <a:ext uri="{FF2B5EF4-FFF2-40B4-BE49-F238E27FC236}">
                      <a16:creationId xmlns:a16="http://schemas.microsoft.com/office/drawing/2014/main" id="{DAA7A8BB-5F94-5BAF-265F-21F94BB56DC5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42" name="Google Shape;134;p16">
                  <a:extLst>
                    <a:ext uri="{FF2B5EF4-FFF2-40B4-BE49-F238E27FC236}">
                      <a16:creationId xmlns:a16="http://schemas.microsoft.com/office/drawing/2014/main" id="{CD9978C7-F441-AE42-7048-9181ABA7AB71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6" name="Google Shape;148;p16">
              <a:extLst>
                <a:ext uri="{FF2B5EF4-FFF2-40B4-BE49-F238E27FC236}">
                  <a16:creationId xmlns:a16="http://schemas.microsoft.com/office/drawing/2014/main" id="{D0F9E7BB-05FF-7286-AFEC-97FC36D7CD3C}"/>
                </a:ext>
              </a:extLst>
            </p:cNvPr>
            <p:cNvGrpSpPr/>
            <p:nvPr/>
          </p:nvGrpSpPr>
          <p:grpSpPr>
            <a:xfrm>
              <a:off x="4897427" y="3436251"/>
              <a:ext cx="355641" cy="340151"/>
              <a:chOff x="6554196" y="2947496"/>
              <a:chExt cx="505100" cy="483100"/>
            </a:xfrm>
          </p:grpSpPr>
          <p:sp>
            <p:nvSpPr>
              <p:cNvPr id="25" name="Google Shape;149;p16">
                <a:extLst>
                  <a:ext uri="{FF2B5EF4-FFF2-40B4-BE49-F238E27FC236}">
                    <a16:creationId xmlns:a16="http://schemas.microsoft.com/office/drawing/2014/main" id="{EC07FC25-532D-372B-D05B-8F6D37D903D4}"/>
                  </a:ext>
                </a:extLst>
              </p:cNvPr>
              <p:cNvSpPr/>
              <p:nvPr/>
            </p:nvSpPr>
            <p:spPr>
              <a:xfrm>
                <a:off x="6554196" y="2947496"/>
                <a:ext cx="505100" cy="483100"/>
              </a:xfrm>
              <a:custGeom>
                <a:avLst/>
                <a:gdLst/>
                <a:ahLst/>
                <a:cxnLst/>
                <a:rect l="l" t="t" r="r" b="b"/>
                <a:pathLst>
                  <a:path w="20204" h="19324" extrusionOk="0">
                    <a:moveTo>
                      <a:pt x="12136" y="1129"/>
                    </a:moveTo>
                    <a:cubicBezTo>
                      <a:pt x="13730" y="1129"/>
                      <a:pt x="15325" y="1737"/>
                      <a:pt x="16538" y="2952"/>
                    </a:cubicBezTo>
                    <a:cubicBezTo>
                      <a:pt x="18969" y="5383"/>
                      <a:pt x="18969" y="9323"/>
                      <a:pt x="16538" y="11757"/>
                    </a:cubicBezTo>
                    <a:cubicBezTo>
                      <a:pt x="15341" y="12950"/>
                      <a:pt x="13747" y="13579"/>
                      <a:pt x="12129" y="13579"/>
                    </a:cubicBezTo>
                    <a:cubicBezTo>
                      <a:pt x="11233" y="13579"/>
                      <a:pt x="10329" y="13386"/>
                      <a:pt x="9482" y="12989"/>
                    </a:cubicBezTo>
                    <a:cubicBezTo>
                      <a:pt x="9461" y="12980"/>
                      <a:pt x="9440" y="12968"/>
                      <a:pt x="9419" y="12959"/>
                    </a:cubicBezTo>
                    <a:cubicBezTo>
                      <a:pt x="8794" y="12657"/>
                      <a:pt x="8223" y="12249"/>
                      <a:pt x="7734" y="11757"/>
                    </a:cubicBezTo>
                    <a:cubicBezTo>
                      <a:pt x="5306" y="9329"/>
                      <a:pt x="5306" y="5380"/>
                      <a:pt x="7734" y="2952"/>
                    </a:cubicBezTo>
                    <a:cubicBezTo>
                      <a:pt x="8948" y="1737"/>
                      <a:pt x="10542" y="1129"/>
                      <a:pt x="12136" y="1129"/>
                    </a:cubicBezTo>
                    <a:close/>
                    <a:moveTo>
                      <a:pt x="5871" y="11216"/>
                    </a:moveTo>
                    <a:cubicBezTo>
                      <a:pt x="6475" y="12195"/>
                      <a:pt x="7296" y="13016"/>
                      <a:pt x="8271" y="13620"/>
                    </a:cubicBezTo>
                    <a:lnTo>
                      <a:pt x="7734" y="14160"/>
                    </a:lnTo>
                    <a:cubicBezTo>
                      <a:pt x="7622" y="14271"/>
                      <a:pt x="7477" y="14326"/>
                      <a:pt x="7332" y="14326"/>
                    </a:cubicBezTo>
                    <a:cubicBezTo>
                      <a:pt x="7188" y="14326"/>
                      <a:pt x="7044" y="14271"/>
                      <a:pt x="6934" y="14160"/>
                    </a:cubicBezTo>
                    <a:lnTo>
                      <a:pt x="5330" y="12557"/>
                    </a:lnTo>
                    <a:cubicBezTo>
                      <a:pt x="5110" y="12337"/>
                      <a:pt x="5110" y="11977"/>
                      <a:pt x="5330" y="11757"/>
                    </a:cubicBezTo>
                    <a:lnTo>
                      <a:pt x="5871" y="11216"/>
                    </a:lnTo>
                    <a:close/>
                    <a:moveTo>
                      <a:pt x="4932" y="13762"/>
                    </a:moveTo>
                    <a:lnTo>
                      <a:pt x="5732" y="14562"/>
                    </a:lnTo>
                    <a:lnTo>
                      <a:pt x="4932" y="15362"/>
                    </a:lnTo>
                    <a:lnTo>
                      <a:pt x="4131" y="14562"/>
                    </a:lnTo>
                    <a:lnTo>
                      <a:pt x="4932" y="13762"/>
                    </a:lnTo>
                    <a:close/>
                    <a:moveTo>
                      <a:pt x="3328" y="15362"/>
                    </a:moveTo>
                    <a:lnTo>
                      <a:pt x="4128" y="16162"/>
                    </a:lnTo>
                    <a:lnTo>
                      <a:pt x="2268" y="18025"/>
                    </a:lnTo>
                    <a:cubicBezTo>
                      <a:pt x="2157" y="18135"/>
                      <a:pt x="2013" y="18190"/>
                      <a:pt x="1868" y="18190"/>
                    </a:cubicBezTo>
                    <a:cubicBezTo>
                      <a:pt x="1723" y="18190"/>
                      <a:pt x="1577" y="18134"/>
                      <a:pt x="1465" y="18022"/>
                    </a:cubicBezTo>
                    <a:cubicBezTo>
                      <a:pt x="1245" y="17802"/>
                      <a:pt x="1245" y="17443"/>
                      <a:pt x="1465" y="17222"/>
                    </a:cubicBezTo>
                    <a:lnTo>
                      <a:pt x="3328" y="15362"/>
                    </a:lnTo>
                    <a:close/>
                    <a:moveTo>
                      <a:pt x="12135" y="1"/>
                    </a:moveTo>
                    <a:cubicBezTo>
                      <a:pt x="10250" y="1"/>
                      <a:pt x="8365" y="718"/>
                      <a:pt x="6931" y="2152"/>
                    </a:cubicBezTo>
                    <a:cubicBezTo>
                      <a:pt x="4769" y="4311"/>
                      <a:pt x="4237" y="7493"/>
                      <a:pt x="5330" y="10157"/>
                    </a:cubicBezTo>
                    <a:lnTo>
                      <a:pt x="4527" y="10957"/>
                    </a:lnTo>
                    <a:cubicBezTo>
                      <a:pt x="4020" y="11467"/>
                      <a:pt x="3887" y="12240"/>
                      <a:pt x="4198" y="12892"/>
                    </a:cubicBezTo>
                    <a:lnTo>
                      <a:pt x="665" y="16422"/>
                    </a:lnTo>
                    <a:cubicBezTo>
                      <a:pt x="1" y="17086"/>
                      <a:pt x="1" y="18161"/>
                      <a:pt x="665" y="18825"/>
                    </a:cubicBezTo>
                    <a:cubicBezTo>
                      <a:pt x="996" y="19158"/>
                      <a:pt x="1431" y="19324"/>
                      <a:pt x="1865" y="19324"/>
                    </a:cubicBezTo>
                    <a:cubicBezTo>
                      <a:pt x="2300" y="19324"/>
                      <a:pt x="2735" y="19158"/>
                      <a:pt x="3066" y="18825"/>
                    </a:cubicBezTo>
                    <a:lnTo>
                      <a:pt x="6598" y="15293"/>
                    </a:lnTo>
                    <a:cubicBezTo>
                      <a:pt x="6831" y="15403"/>
                      <a:pt x="7081" y="15457"/>
                      <a:pt x="7328" y="15457"/>
                    </a:cubicBezTo>
                    <a:cubicBezTo>
                      <a:pt x="7770" y="15457"/>
                      <a:pt x="8206" y="15286"/>
                      <a:pt x="8531" y="14961"/>
                    </a:cubicBezTo>
                    <a:lnTo>
                      <a:pt x="9331" y="14163"/>
                    </a:lnTo>
                    <a:cubicBezTo>
                      <a:pt x="10241" y="14538"/>
                      <a:pt x="11190" y="14717"/>
                      <a:pt x="12127" y="14717"/>
                    </a:cubicBezTo>
                    <a:cubicBezTo>
                      <a:pt x="14530" y="14717"/>
                      <a:pt x="16858" y="13537"/>
                      <a:pt x="18256" y="11437"/>
                    </a:cubicBezTo>
                    <a:cubicBezTo>
                      <a:pt x="20204" y="8520"/>
                      <a:pt x="19821" y="4631"/>
                      <a:pt x="17342" y="2152"/>
                    </a:cubicBezTo>
                    <a:cubicBezTo>
                      <a:pt x="15906" y="718"/>
                      <a:pt x="14020" y="1"/>
                      <a:pt x="1213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  <p:sp>
            <p:nvSpPr>
              <p:cNvPr id="26" name="Google Shape;150;p16">
                <a:extLst>
                  <a:ext uri="{FF2B5EF4-FFF2-40B4-BE49-F238E27FC236}">
                    <a16:creationId xmlns:a16="http://schemas.microsoft.com/office/drawing/2014/main" id="{510ED7B5-73C6-B939-C346-EC842BE3C170}"/>
                  </a:ext>
                </a:extLst>
              </p:cNvPr>
              <p:cNvSpPr/>
              <p:nvPr/>
            </p:nvSpPr>
            <p:spPr>
              <a:xfrm>
                <a:off x="6721170" y="3004070"/>
                <a:ext cx="276000" cy="254400"/>
              </a:xfrm>
              <a:custGeom>
                <a:avLst/>
                <a:gdLst/>
                <a:ahLst/>
                <a:cxnLst/>
                <a:rect l="l" t="t" r="r" b="b"/>
                <a:pathLst>
                  <a:path w="11040" h="10176" extrusionOk="0">
                    <a:moveTo>
                      <a:pt x="5456" y="1133"/>
                    </a:moveTo>
                    <a:cubicBezTo>
                      <a:pt x="6487" y="1133"/>
                      <a:pt x="7500" y="1535"/>
                      <a:pt x="8259" y="2293"/>
                    </a:cubicBezTo>
                    <a:cubicBezTo>
                      <a:pt x="9802" y="3839"/>
                      <a:pt x="9802" y="6348"/>
                      <a:pt x="8259" y="7897"/>
                    </a:cubicBezTo>
                    <a:cubicBezTo>
                      <a:pt x="7501" y="8653"/>
                      <a:pt x="6489" y="9055"/>
                      <a:pt x="5460" y="9055"/>
                    </a:cubicBezTo>
                    <a:cubicBezTo>
                      <a:pt x="4948" y="9055"/>
                      <a:pt x="4433" y="8956"/>
                      <a:pt x="3941" y="8751"/>
                    </a:cubicBezTo>
                    <a:cubicBezTo>
                      <a:pt x="2462" y="8138"/>
                      <a:pt x="1499" y="6695"/>
                      <a:pt x="1499" y="5095"/>
                    </a:cubicBezTo>
                    <a:cubicBezTo>
                      <a:pt x="1499" y="3491"/>
                      <a:pt x="2462" y="2048"/>
                      <a:pt x="3941" y="1435"/>
                    </a:cubicBezTo>
                    <a:cubicBezTo>
                      <a:pt x="4431" y="1232"/>
                      <a:pt x="4946" y="1133"/>
                      <a:pt x="5456" y="1133"/>
                    </a:cubicBezTo>
                    <a:close/>
                    <a:moveTo>
                      <a:pt x="5468" y="1"/>
                    </a:moveTo>
                    <a:cubicBezTo>
                      <a:pt x="5465" y="1"/>
                      <a:pt x="5461" y="1"/>
                      <a:pt x="5457" y="1"/>
                    </a:cubicBezTo>
                    <a:cubicBezTo>
                      <a:pt x="3029" y="4"/>
                      <a:pt x="943" y="1719"/>
                      <a:pt x="472" y="4098"/>
                    </a:cubicBezTo>
                    <a:cubicBezTo>
                      <a:pt x="1" y="6481"/>
                      <a:pt x="1275" y="8860"/>
                      <a:pt x="3519" y="9787"/>
                    </a:cubicBezTo>
                    <a:cubicBezTo>
                      <a:pt x="4151" y="10049"/>
                      <a:pt x="4811" y="10175"/>
                      <a:pt x="5463" y="10175"/>
                    </a:cubicBezTo>
                    <a:cubicBezTo>
                      <a:pt x="7120" y="10175"/>
                      <a:pt x="8725" y="9362"/>
                      <a:pt x="9693" y="7912"/>
                    </a:cubicBezTo>
                    <a:cubicBezTo>
                      <a:pt x="11040" y="5895"/>
                      <a:pt x="10774" y="3207"/>
                      <a:pt x="9059" y="1492"/>
                    </a:cubicBezTo>
                    <a:cubicBezTo>
                      <a:pt x="8108" y="535"/>
                      <a:pt x="6814" y="1"/>
                      <a:pt x="546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</p:grpSp>
      </p:grpSp>
      <p:pic>
        <p:nvPicPr>
          <p:cNvPr id="91" name="Grafik 90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A71A98CB-A141-FAF7-EABA-086584D5AC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989" y="4598465"/>
            <a:ext cx="582232" cy="582232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0A3704B5-7C92-3154-A1D1-0C0A17AC34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560" y="2557557"/>
            <a:ext cx="504731" cy="504731"/>
          </a:xfrm>
          <a:prstGeom prst="rect">
            <a:avLst/>
          </a:prstGeom>
        </p:spPr>
      </p:pic>
      <p:pic>
        <p:nvPicPr>
          <p:cNvPr id="97" name="Grafik 96">
            <a:extLst>
              <a:ext uri="{FF2B5EF4-FFF2-40B4-BE49-F238E27FC236}">
                <a16:creationId xmlns:a16="http://schemas.microsoft.com/office/drawing/2014/main" id="{0D5830F3-5E61-7A60-4465-C06CEE513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391" y="3500801"/>
            <a:ext cx="473983" cy="473983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29B7317B-FF06-6760-8AB1-025BC77F95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688" y="2673534"/>
            <a:ext cx="477015" cy="477015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D03E053A-44DE-A69F-CEF7-903AF86782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557" y="3673566"/>
            <a:ext cx="554533" cy="55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654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>
                <a:solidFill>
                  <a:srgbClr val="FFC000"/>
                </a:solidFill>
              </a:rPr>
              <a:t>Zeitplan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7388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94982DDC-B4A1-30F9-BAED-5195AEF3B3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7" t="14825" r="29720" b="48429"/>
          <a:stretch/>
        </p:blipFill>
        <p:spPr bwMode="auto">
          <a:xfrm>
            <a:off x="313267" y="1289379"/>
            <a:ext cx="8919634" cy="38627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9B31D95-13AD-4636-1E2B-D8C37BD40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anchor="t">
            <a:normAutofit/>
          </a:bodyPr>
          <a:lstStyle/>
          <a:p>
            <a:pPr marL="0" indent="0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kern="1200" dirty="0"/>
              <a:t>Zeitpla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34087D-8078-3C4E-298D-25157B8C27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7" t="51790" r="75064" b="30681"/>
          <a:stretch/>
        </p:blipFill>
        <p:spPr bwMode="auto">
          <a:xfrm>
            <a:off x="313267" y="5088310"/>
            <a:ext cx="1373293" cy="117697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698498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>
                <a:solidFill>
                  <a:srgbClr val="FFC000"/>
                </a:solidFill>
              </a:rPr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20960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Fragezeichen vor roter Wand">
            <a:extLst>
              <a:ext uri="{FF2B5EF4-FFF2-40B4-BE49-F238E27FC236}">
                <a16:creationId xmlns:a16="http://schemas.microsoft.com/office/drawing/2014/main" id="{9B47F56A-A64E-FA04-7E6E-8E70E340B0CA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314" y="1414463"/>
            <a:ext cx="8096485" cy="4894262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117DBFA-AD66-42B6-93D0-1BE0203F0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Danke für di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2551964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olidFill>
                  <a:srgbClr val="FFC000"/>
                </a:solidFill>
              </a:rPr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18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82766ABC-B04A-A6EF-0156-28ACD0CBAC0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17288" y="1413933"/>
            <a:ext cx="5396342" cy="4894792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ST-Situation:</a:t>
            </a:r>
          </a:p>
          <a:p>
            <a:r>
              <a:rPr lang="de-DE" dirty="0"/>
              <a:t>Umstellung Schulverwaltungssoftware auf ASV </a:t>
            </a:r>
          </a:p>
          <a:p>
            <a:pPr lvl="1">
              <a:buFontTx/>
              <a:buChar char="‼"/>
            </a:pPr>
            <a:r>
              <a:rPr lang="de-DE" dirty="0"/>
              <a:t>Aber keine Möglichkeit Kfz-Kennzeichen und Parkausweise zu verwalten im ASV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r>
              <a:rPr lang="de-DE" dirty="0"/>
              <a:t> Registrierung über </a:t>
            </a:r>
            <a:r>
              <a:rPr lang="de-DE" dirty="0" err="1"/>
              <a:t>Mebis</a:t>
            </a:r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r>
              <a:rPr lang="de-DE" dirty="0"/>
              <a:t> CSV-Export aus </a:t>
            </a:r>
            <a:r>
              <a:rPr lang="de-DE" dirty="0" err="1"/>
              <a:t>Mebis</a:t>
            </a:r>
            <a:r>
              <a:rPr lang="de-DE" dirty="0"/>
              <a:t> ist Grundlage für Ausweisdruck</a:t>
            </a:r>
            <a:br>
              <a:rPr lang="de-DE" dirty="0"/>
            </a:br>
            <a:r>
              <a:rPr lang="de-DE" dirty="0"/>
              <a:t>  mittels Serienbrief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D644437-7B4A-7B0C-87C3-FCE65F6EC5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5021"/>
          <a:stretch/>
        </p:blipFill>
        <p:spPr>
          <a:xfrm>
            <a:off x="488946" y="1413933"/>
            <a:ext cx="5396342" cy="4894792"/>
          </a:xfrm>
          <a:prstGeom prst="rect">
            <a:avLst/>
          </a:prstGeom>
          <a:noFill/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5A7872E3-B8A0-2C31-1243-6E9E4D96B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en-US" dirty="0"/>
              <a:t>ALLGEMEINE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D64077C-3225-12AB-600C-CC85E049605A}"/>
              </a:ext>
            </a:extLst>
          </p:cNvPr>
          <p:cNvSpPr txBox="1"/>
          <p:nvPr/>
        </p:nvSpPr>
        <p:spPr>
          <a:xfrm>
            <a:off x="488946" y="6281254"/>
            <a:ext cx="290303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eenshot Parkplatz BSZ </a:t>
            </a:r>
            <a:r>
              <a:rPr lang="de-DE" sz="11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ntinger</a:t>
            </a:r>
            <a:r>
              <a:rPr lang="de-DE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Google Maps)</a:t>
            </a:r>
          </a:p>
        </p:txBody>
      </p:sp>
    </p:spTree>
    <p:extLst>
      <p:ext uri="{BB962C8B-B14F-4D97-AF65-F5344CB8AC3E}">
        <p14:creationId xmlns:p14="http://schemas.microsoft.com/office/powerpoint/2010/main" val="2853273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Feiernde American Football-Mannschaft">
            <a:extLst>
              <a:ext uri="{FF2B5EF4-FFF2-40B4-BE49-F238E27FC236}">
                <a16:creationId xmlns:a16="http://schemas.microsoft.com/office/drawing/2014/main" id="{AC4A9A35-0EDE-BEBE-3352-3786DEA09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60"/>
          <a:stretch/>
        </p:blipFill>
        <p:spPr>
          <a:xfrm>
            <a:off x="20" y="-15693"/>
            <a:ext cx="12191980" cy="6570472"/>
          </a:xfrm>
          <a:prstGeom prst="rect">
            <a:avLst/>
          </a:prstGeom>
          <a:noFill/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B38949F-964B-5161-B410-8EE26C70B322}"/>
              </a:ext>
            </a:extLst>
          </p:cNvPr>
          <p:cNvSpPr txBox="1"/>
          <p:nvPr/>
        </p:nvSpPr>
        <p:spPr>
          <a:xfrm rot="20949798">
            <a:off x="6228462" y="2582299"/>
            <a:ext cx="736868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ksi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605349A-A3C7-D31B-DE21-012D85DAC41B}"/>
              </a:ext>
            </a:extLst>
          </p:cNvPr>
          <p:cNvSpPr txBox="1"/>
          <p:nvPr/>
        </p:nvSpPr>
        <p:spPr>
          <a:xfrm rot="21427390">
            <a:off x="3342503" y="2938917"/>
            <a:ext cx="517770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Jon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5F7C1BC-F2FE-4FAA-61B1-92CC41A813B1}"/>
              </a:ext>
            </a:extLst>
          </p:cNvPr>
          <p:cNvSpPr txBox="1"/>
          <p:nvPr/>
        </p:nvSpPr>
        <p:spPr>
          <a:xfrm rot="21427390">
            <a:off x="8434290" y="3123155"/>
            <a:ext cx="395942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>
                <a:solidFill>
                  <a:schemeClr val="bg1"/>
                </a:solidFill>
              </a:rPr>
              <a:t>Sebi</a:t>
            </a:r>
            <a:endParaRPr lang="de-DE"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6B473D7-F22D-82DF-1146-D5E495F6477A}"/>
              </a:ext>
            </a:extLst>
          </p:cNvPr>
          <p:cNvSpPr txBox="1"/>
          <p:nvPr/>
        </p:nvSpPr>
        <p:spPr>
          <a:xfrm>
            <a:off x="7442843" y="2800646"/>
            <a:ext cx="602216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rco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0A6B15-1BD0-B508-57FD-AC0B74141A2E}"/>
              </a:ext>
            </a:extLst>
          </p:cNvPr>
          <p:cNvSpPr txBox="1"/>
          <p:nvPr/>
        </p:nvSpPr>
        <p:spPr>
          <a:xfrm rot="20619998">
            <a:off x="4730256" y="2946668"/>
            <a:ext cx="517834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rank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A02E94B-342F-7E2A-3414-D672A7D8F0D4}"/>
              </a:ext>
            </a:extLst>
          </p:cNvPr>
          <p:cNvSpPr txBox="1"/>
          <p:nvPr/>
        </p:nvSpPr>
        <p:spPr>
          <a:xfrm rot="21324888">
            <a:off x="9941495" y="3229336"/>
            <a:ext cx="45523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ichael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8A85B4B-8BA3-9E9C-F03D-9A38BCAE792B}"/>
              </a:ext>
            </a:extLst>
          </p:cNvPr>
          <p:cNvSpPr txBox="1"/>
          <p:nvPr/>
        </p:nvSpPr>
        <p:spPr>
          <a:xfrm>
            <a:off x="5384365" y="867306"/>
            <a:ext cx="3178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VT</a:t>
            </a:r>
            <a:endParaRPr lang="de-DE"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265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>
                <a:solidFill>
                  <a:srgbClr val="FFC000"/>
                </a:solidFill>
              </a:rPr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3865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nhaltsplatzhalter 2" descr="Drei Pfeile im Schwarzen">
            <a:extLst>
              <a:ext uri="{FF2B5EF4-FFF2-40B4-BE49-F238E27FC236}">
                <a16:creationId xmlns:a16="http://schemas.microsoft.com/office/drawing/2014/main" id="{6BF2C697-9D4A-3BEC-9E86-E03D48094A40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99" r="1" b="1"/>
          <a:stretch/>
        </p:blipFill>
        <p:spPr>
          <a:xfrm>
            <a:off x="478369" y="3170767"/>
            <a:ext cx="7236719" cy="3137957"/>
          </a:xfrm>
          <a:noFill/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C1B2E96-AB05-9418-066C-5C26B038252E}"/>
              </a:ext>
            </a:extLst>
          </p:cNvPr>
          <p:cNvSpPr txBox="1"/>
          <p:nvPr/>
        </p:nvSpPr>
        <p:spPr>
          <a:xfrm>
            <a:off x="488946" y="1413931"/>
            <a:ext cx="7230474" cy="29902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>
                <a:effectLst/>
              </a:rPr>
              <a:t> Für die Lehrkräfte (Klassleiter) der BS3</a:t>
            </a:r>
            <a:r>
              <a:rPr lang="de-DE" sz="2400" dirty="0"/>
              <a:t> 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übersichtliche Web-Applikation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Anzeigen, Bearbeiten, Erstellen und Löschen von Daten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Drucken der Parkausweise</a:t>
            </a:r>
            <a:endParaRPr lang="de-DE" sz="700" dirty="0"/>
          </a:p>
        </p:txBody>
      </p:sp>
      <p:sp>
        <p:nvSpPr>
          <p:cNvPr id="32" name="Title 5">
            <a:extLst>
              <a:ext uri="{FF2B5EF4-FFF2-40B4-BE49-F238E27FC236}">
                <a16:creationId xmlns:a16="http://schemas.microsoft.com/office/drawing/2014/main" id="{9198BCBE-37BF-7F9B-C56E-80686A4D6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59" y="347184"/>
            <a:ext cx="11224684" cy="830997"/>
          </a:xfrm>
        </p:spPr>
        <p:txBody>
          <a:bodyPr/>
          <a:lstStyle/>
          <a:p>
            <a:r>
              <a:rPr lang="de-DE" sz="2800" dirty="0"/>
              <a:t>Ziele</a:t>
            </a:r>
            <a:br>
              <a:rPr lang="de-DE" sz="2800" dirty="0">
                <a:effectLst/>
              </a:rPr>
            </a:br>
            <a:endParaRPr lang="en-US" dirty="0"/>
          </a:p>
        </p:txBody>
      </p:sp>
      <p:pic>
        <p:nvPicPr>
          <p:cNvPr id="11" name="Grafik 10" descr="Lehrerin, die lächelt und an ein Whiteboard schreibt">
            <a:extLst>
              <a:ext uri="{FF2B5EF4-FFF2-40B4-BE49-F238E27FC236}">
                <a16:creationId xmlns:a16="http://schemas.microsoft.com/office/drawing/2014/main" id="{CAF027F8-A750-3B8F-2725-BE9097B890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36454" b="2"/>
          <a:stretch/>
        </p:blipFill>
        <p:spPr>
          <a:xfrm>
            <a:off x="8116070" y="1413932"/>
            <a:ext cx="3597561" cy="48947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89233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30A7D30-311C-F8C2-7D81-ABE5131EE29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6069" y="1413933"/>
            <a:ext cx="3597561" cy="3699643"/>
          </a:xfrm>
        </p:spPr>
        <p:txBody>
          <a:bodyPr/>
          <a:lstStyle/>
          <a:p>
            <a:pPr marL="552150" lvl="1" indent="0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None/>
            </a:pPr>
            <a:r>
              <a:rPr lang="de-DE" sz="2000" b="1" dirty="0">
                <a:effectLst/>
                <a:uFill>
                  <a:solidFill>
                    <a:srgbClr val="007FC5"/>
                  </a:solidFill>
                </a:uFill>
              </a:rPr>
              <a:t>Systemvoraussetzungen</a:t>
            </a:r>
            <a:endParaRPr lang="de-DE" sz="1600" dirty="0"/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Internet-Browser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Zugriff auf das Verwaltungsnetz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>
                <a:effectLst/>
              </a:rPr>
              <a:t> Drucker</a:t>
            </a:r>
            <a:endParaRPr lang="de-DE" sz="2000" b="1" dirty="0">
              <a:effectLst/>
              <a:uFill>
                <a:solidFill>
                  <a:srgbClr val="007FC5"/>
                </a:solidFill>
              </a:uFill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F3AA16F-2273-35FE-6E90-13D4A353D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err="1"/>
              <a:t>Ressourcen</a:t>
            </a:r>
            <a:r>
              <a:rPr lang="de-DE"/>
              <a:t>/</a:t>
            </a:r>
            <a:r>
              <a:rPr lang="de-DE" err="1"/>
              <a:t>Anforderungen</a:t>
            </a:r>
            <a:endParaRPr lang="de-DE"/>
          </a:p>
        </p:txBody>
      </p:sp>
      <p:pic>
        <p:nvPicPr>
          <p:cNvPr id="6" name="Grafik 5" descr="Eine Spielzeugrakete, die aus dem Computer fliegt">
            <a:extLst>
              <a:ext uri="{FF2B5EF4-FFF2-40B4-BE49-F238E27FC236}">
                <a16:creationId xmlns:a16="http://schemas.microsoft.com/office/drawing/2014/main" id="{756DE26C-2EE4-CF9B-1591-F57BB90876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5" r="12166" b="2"/>
          <a:stretch/>
        </p:blipFill>
        <p:spPr>
          <a:xfrm>
            <a:off x="4302508" y="1413933"/>
            <a:ext cx="3597561" cy="4894792"/>
          </a:xfrm>
          <a:prstGeom prst="rect">
            <a:avLst/>
          </a:prstGeom>
          <a:noFill/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C831B6E-7928-ACDC-8736-809750756FBF}"/>
              </a:ext>
            </a:extLst>
          </p:cNvPr>
          <p:cNvSpPr txBox="1">
            <a:spLocks/>
          </p:cNvSpPr>
          <p:nvPr/>
        </p:nvSpPr>
        <p:spPr>
          <a:xfrm>
            <a:off x="488946" y="1413933"/>
            <a:ext cx="3597561" cy="36996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2150" lvl="1" indent="0">
              <a:lnSpc>
                <a:spcPct val="90000"/>
              </a:lnSpc>
              <a:buFont typeface="BMW Group Condensed" panose="020B0606020202020204" pitchFamily="34" charset="0"/>
              <a:buNone/>
            </a:pPr>
            <a:r>
              <a:rPr lang="de-DE" sz="2000" b="1" dirty="0">
                <a:uFill>
                  <a:solidFill>
                    <a:srgbClr val="007FC5"/>
                  </a:solidFill>
                </a:uFill>
              </a:rPr>
              <a:t>Ressourcen</a:t>
            </a:r>
            <a:endParaRPr lang="de-DE" sz="1600" dirty="0"/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Python inkl. DJANGO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PostgreSQL Datenbank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HTML, CSS, JS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b="1" dirty="0">
                <a:uFill>
                  <a:solidFill>
                    <a:srgbClr val="007FC5"/>
                  </a:solidFill>
                </a:uFill>
              </a:rPr>
              <a:t> </a:t>
            </a:r>
            <a:r>
              <a:rPr lang="de-DE" sz="2000" dirty="0">
                <a:uFill>
                  <a:solidFill>
                    <a:srgbClr val="007FC5"/>
                  </a:solidFill>
                </a:uFill>
              </a:rPr>
              <a:t>MS Office</a:t>
            </a:r>
          </a:p>
        </p:txBody>
      </p:sp>
    </p:spTree>
    <p:extLst>
      <p:ext uri="{BB962C8B-B14F-4D97-AF65-F5344CB8AC3E}">
        <p14:creationId xmlns:p14="http://schemas.microsoft.com/office/powerpoint/2010/main" val="434289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>
                <a:solidFill>
                  <a:srgbClr val="FFC000"/>
                </a:solidFill>
              </a:rPr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296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CDC8FB-4E1E-68D6-BFCB-90D31CA82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ilensteine</a:t>
            </a:r>
          </a:p>
        </p:txBody>
      </p:sp>
      <p:sp>
        <p:nvSpPr>
          <p:cNvPr id="3" name="OTLSHAPE_SL_79f05e8de72e4cc385fce875fa65517f_BackgroundRectangle">
            <a:extLst>
              <a:ext uri="{FF2B5EF4-FFF2-40B4-BE49-F238E27FC236}">
                <a16:creationId xmlns:a16="http://schemas.microsoft.com/office/drawing/2014/main" id="{DEEA103E-E737-FFCD-540D-CDDCA57A69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2414" y="2788920"/>
            <a:ext cx="11271385" cy="697845"/>
          </a:xfrm>
          <a:prstGeom prst="rect">
            <a:avLst/>
          </a:prstGeom>
          <a:solidFill>
            <a:schemeClr val="accent5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TLSHAPE_SL_207dd3271e3446038430a776476543e7_BackgroundRectangle">
            <a:extLst>
              <a:ext uri="{FF2B5EF4-FFF2-40B4-BE49-F238E27FC236}">
                <a16:creationId xmlns:a16="http://schemas.microsoft.com/office/drawing/2014/main" id="{E49FA687-7F4D-2ECF-B06C-68A19137110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500" y="3545223"/>
            <a:ext cx="11290300" cy="758554"/>
          </a:xfrm>
          <a:prstGeom prst="rect">
            <a:avLst/>
          </a:prstGeom>
          <a:solidFill>
            <a:schemeClr val="accent4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TLSHAPE_SL_9eb76584bb32452eac07fb2637baea1a_BackgroundRectangle">
            <a:extLst>
              <a:ext uri="{FF2B5EF4-FFF2-40B4-BE49-F238E27FC236}">
                <a16:creationId xmlns:a16="http://schemas.microsoft.com/office/drawing/2014/main" id="{36B3EFDA-3248-BF42-A34C-5DCA37E1E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500" y="4367275"/>
            <a:ext cx="11290300" cy="969773"/>
          </a:xfrm>
          <a:prstGeom prst="rect">
            <a:avLst/>
          </a:prstGeom>
          <a:solidFill>
            <a:schemeClr val="accent3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OTLSHAPE_M_177188707e544830b8ce884a45b14d3a_Connector1">
            <a:extLst>
              <a:ext uri="{FF2B5EF4-FFF2-40B4-BE49-F238E27FC236}">
                <a16:creationId xmlns:a16="http://schemas.microsoft.com/office/drawing/2014/main" id="{339C3E3E-8658-1C16-E98D-18D880E50737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1714877" y="1880488"/>
            <a:ext cx="0" cy="44852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TLSHAPE_M_e7d42421d9e640a2a107afa423141c46_Connector1">
            <a:extLst>
              <a:ext uri="{FF2B5EF4-FFF2-40B4-BE49-F238E27FC236}">
                <a16:creationId xmlns:a16="http://schemas.microsoft.com/office/drawing/2014/main" id="{7A83E5F5-8506-FC82-5C12-BC837C685CF0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402384" y="1456055"/>
            <a:ext cx="0" cy="875665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TLSHAPE_M_0e28a84cf6724e00a089964be0d24b0c_Connector1">
            <a:extLst>
              <a:ext uri="{FF2B5EF4-FFF2-40B4-BE49-F238E27FC236}">
                <a16:creationId xmlns:a16="http://schemas.microsoft.com/office/drawing/2014/main" id="{37D3EC86-6335-7002-0D47-EF30A2D4E14A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725321" y="1892959"/>
            <a:ext cx="0" cy="43582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OTLSHAPE_M_b1a2b0ad50c54f3db24b3aab69d68fc5_Connector1">
            <a:extLst>
              <a:ext uri="{FF2B5EF4-FFF2-40B4-BE49-F238E27FC236}">
                <a16:creationId xmlns:a16="http://schemas.microsoft.com/office/drawing/2014/main" id="{B1A59C0D-B059-AB56-4A92-87C079DB547A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586271" y="1909943"/>
            <a:ext cx="0" cy="42513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TLSHAPE_TB_00000000000000000000000000000000_ScaleContainer">
            <a:extLst>
              <a:ext uri="{FF2B5EF4-FFF2-40B4-BE49-F238E27FC236}">
                <a16:creationId xmlns:a16="http://schemas.microsoft.com/office/drawing/2014/main" id="{F4322CAE-B604-92CB-441F-A9EF166AEAF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58537" y="2331720"/>
            <a:ext cx="10515600" cy="254000"/>
          </a:xfrm>
          <a:prstGeom prst="round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TLSHAPE_SL_79f05e8de72e4cc385fce875fa65517f_HeaderRectangle">
            <a:extLst>
              <a:ext uri="{FF2B5EF4-FFF2-40B4-BE49-F238E27FC236}">
                <a16:creationId xmlns:a16="http://schemas.microsoft.com/office/drawing/2014/main" id="{5EB63A8C-2DFF-F5B3-A53C-2504CD24E3B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500" y="2788920"/>
            <a:ext cx="660400" cy="697845"/>
          </a:xfrm>
          <a:prstGeom prst="rect">
            <a:avLst/>
          </a:prstGeom>
          <a:solidFill>
            <a:schemeClr val="accent5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TLSHAPE_SL_207dd3271e3446038430a776476543e7_HeaderRectangle">
            <a:extLst>
              <a:ext uri="{FF2B5EF4-FFF2-40B4-BE49-F238E27FC236}">
                <a16:creationId xmlns:a16="http://schemas.microsoft.com/office/drawing/2014/main" id="{841B3D65-2734-2062-FD89-F2C58C74FD1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3500" y="3545222"/>
            <a:ext cx="660395" cy="758554"/>
          </a:xfrm>
          <a:prstGeom prst="rect">
            <a:avLst/>
          </a:prstGeom>
          <a:solidFill>
            <a:schemeClr val="accent4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TLSHAPE_SL_9eb76584bb32452eac07fb2637baea1a_HeaderRectangle">
            <a:extLst>
              <a:ext uri="{FF2B5EF4-FFF2-40B4-BE49-F238E27FC236}">
                <a16:creationId xmlns:a16="http://schemas.microsoft.com/office/drawing/2014/main" id="{F8BE611C-5D73-8ACF-2F26-B34A7FB456B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3500" y="4367276"/>
            <a:ext cx="660400" cy="969772"/>
          </a:xfrm>
          <a:prstGeom prst="rect">
            <a:avLst/>
          </a:prstGeom>
          <a:solidFill>
            <a:schemeClr val="accent3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OTLSHAPE_G_00000000000000000000000000000000_ShapeBelow0">
            <a:extLst>
              <a:ext uri="{FF2B5EF4-FFF2-40B4-BE49-F238E27FC236}">
                <a16:creationId xmlns:a16="http://schemas.microsoft.com/office/drawing/2014/main" id="{84954710-1E05-D81B-DD94-38077B183010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1736507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TLSHAPE_G_00000000000000000000000000000000_ShapeBelow1">
            <a:extLst>
              <a:ext uri="{FF2B5EF4-FFF2-40B4-BE49-F238E27FC236}">
                <a16:creationId xmlns:a16="http://schemas.microsoft.com/office/drawing/2014/main" id="{ACEB7C61-857B-33AE-E2A0-3FCB3DEED57A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2542221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OTLSHAPE_G_00000000000000000000000000000000_ShapeBelow2">
            <a:extLst>
              <a:ext uri="{FF2B5EF4-FFF2-40B4-BE49-F238E27FC236}">
                <a16:creationId xmlns:a16="http://schemas.microsoft.com/office/drawing/2014/main" id="{60D6968C-6A1A-7B17-2779-7B3F429CF592}"/>
              </a:ext>
            </a:extLst>
          </p:cNvPr>
          <p:cNvCxnSpPr/>
          <p:nvPr>
            <p:custDataLst>
              <p:tags r:id="rId14"/>
            </p:custDataLst>
          </p:nvPr>
        </p:nvCxnSpPr>
        <p:spPr>
          <a:xfrm>
            <a:off x="3434263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OTLSHAPE_G_00000000000000000000000000000000_ShapeBelow3">
            <a:extLst>
              <a:ext uri="{FF2B5EF4-FFF2-40B4-BE49-F238E27FC236}">
                <a16:creationId xmlns:a16="http://schemas.microsoft.com/office/drawing/2014/main" id="{F6680CBB-5475-F757-B486-E257A92180A9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4297529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OTLSHAPE_G_00000000000000000000000000000000_ShapeBelow4">
            <a:extLst>
              <a:ext uri="{FF2B5EF4-FFF2-40B4-BE49-F238E27FC236}">
                <a16:creationId xmlns:a16="http://schemas.microsoft.com/office/drawing/2014/main" id="{33847483-5DB5-23E9-B2E4-2E9D5C7AF3ED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9570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OTLSHAPE_G_00000000000000000000000000000000_ShapeBelow5">
            <a:extLst>
              <a:ext uri="{FF2B5EF4-FFF2-40B4-BE49-F238E27FC236}">
                <a16:creationId xmlns:a16="http://schemas.microsoft.com/office/drawing/2014/main" id="{1251B4D4-7FE5-CF37-6D2A-60888542092D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6052836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OTLSHAPE_G_00000000000000000000000000000000_ShapeBelow6">
            <a:extLst>
              <a:ext uri="{FF2B5EF4-FFF2-40B4-BE49-F238E27FC236}">
                <a16:creationId xmlns:a16="http://schemas.microsoft.com/office/drawing/2014/main" id="{EAC4CAF9-F758-02C9-1E40-EB9B6C172580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6944878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OTLSHAPE_G_00000000000000000000000000000000_ShapeBelow7">
            <a:extLst>
              <a:ext uri="{FF2B5EF4-FFF2-40B4-BE49-F238E27FC236}">
                <a16:creationId xmlns:a16="http://schemas.microsoft.com/office/drawing/2014/main" id="{352F4DF9-D83D-5313-E7C9-ECDDE53E4CC6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7836919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OTLSHAPE_G_00000000000000000000000000000000_ShapeBelow8">
            <a:extLst>
              <a:ext uri="{FF2B5EF4-FFF2-40B4-BE49-F238E27FC236}">
                <a16:creationId xmlns:a16="http://schemas.microsoft.com/office/drawing/2014/main" id="{4B34A84B-4F6C-DBA7-9481-68415C48AB36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8700185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OTLSHAPE_G_00000000000000000000000000000000_ShapeBelow9">
            <a:extLst>
              <a:ext uri="{FF2B5EF4-FFF2-40B4-BE49-F238E27FC236}">
                <a16:creationId xmlns:a16="http://schemas.microsoft.com/office/drawing/2014/main" id="{10BC34C5-865A-E83B-434A-CA4C4F577FB3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9592227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OTLSHAPE_G_00000000000000000000000000000000_ShapeBelow10">
            <a:extLst>
              <a:ext uri="{FF2B5EF4-FFF2-40B4-BE49-F238E27FC236}">
                <a16:creationId xmlns:a16="http://schemas.microsoft.com/office/drawing/2014/main" id="{8C155A59-C25A-F3DA-FF5A-3EB21035CA92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10455493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TLSHAPE_SLT_cbc6053273674742982e85d542978064_Shape">
            <a:extLst>
              <a:ext uri="{FF2B5EF4-FFF2-40B4-BE49-F238E27FC236}">
                <a16:creationId xmlns:a16="http://schemas.microsoft.com/office/drawing/2014/main" id="{F1386BB8-F201-CC9D-4B96-8DFF3165F53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16940" y="2835993"/>
            <a:ext cx="980573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TLSHAPE_SLT_9ce940d97a4b4fe7ac0ca3b0352deccb_Shape">
            <a:extLst>
              <a:ext uri="{FF2B5EF4-FFF2-40B4-BE49-F238E27FC236}">
                <a16:creationId xmlns:a16="http://schemas.microsoft.com/office/drawing/2014/main" id="{81BC15D5-DBD9-48BE-9762-5F371FF4C634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736506" y="3035639"/>
            <a:ext cx="1986685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TLSHAPE_SLT_2ff5b8e034b64a828622147da9a2f6b2_Shape">
            <a:extLst>
              <a:ext uri="{FF2B5EF4-FFF2-40B4-BE49-F238E27FC236}">
                <a16:creationId xmlns:a16="http://schemas.microsoft.com/office/drawing/2014/main" id="{DF5CC85D-6A3D-B903-7273-369354508BB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3457660" y="3269657"/>
            <a:ext cx="1267659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TLSHAPE_SLT_1548a45929d542f08ebbc364690e3865_Shape">
            <a:extLst>
              <a:ext uri="{FF2B5EF4-FFF2-40B4-BE49-F238E27FC236}">
                <a16:creationId xmlns:a16="http://schemas.microsoft.com/office/drawing/2014/main" id="{396EB96A-CBEE-825F-B9E5-577E171D3A6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530252" y="4062476"/>
            <a:ext cx="261608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TLSHAPE_SLT_526de5b69e97497f9a5625d453beb623_Shape">
            <a:extLst>
              <a:ext uri="{FF2B5EF4-FFF2-40B4-BE49-F238E27FC236}">
                <a16:creationId xmlns:a16="http://schemas.microsoft.com/office/drawing/2014/main" id="{8EBAA7AC-EE27-D103-C66C-F162AC5A1D84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815134" y="4067144"/>
            <a:ext cx="428829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TLSHAPE_SLT_2e921e95cd8d4b13a13500bc7b21bf4c_Shape">
            <a:extLst>
              <a:ext uri="{FF2B5EF4-FFF2-40B4-BE49-F238E27FC236}">
                <a16:creationId xmlns:a16="http://schemas.microsoft.com/office/drawing/2014/main" id="{886C7EA8-55EC-0966-DCBB-2DC7BB8FF8E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7266619" y="4072044"/>
            <a:ext cx="805552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TLSHAPE_TB_00000000000000000000000000000000_ElapsedTime">
            <a:extLst>
              <a:ext uri="{FF2B5EF4-FFF2-40B4-BE49-F238E27FC236}">
                <a16:creationId xmlns:a16="http://schemas.microsoft.com/office/drawing/2014/main" id="{3E059D77-4135-4500-E851-2749D98A62F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844465" y="2534919"/>
            <a:ext cx="8741806" cy="50801"/>
          </a:xfrm>
          <a:prstGeom prst="roundRect">
            <a:avLst/>
          </a:prstGeom>
          <a:solidFill>
            <a:srgbClr val="FF0000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TLSHAPE_SLM_2906e62c2d64423a8a6ff0cffce343fd_Shape">
            <a:extLst>
              <a:ext uri="{FF2B5EF4-FFF2-40B4-BE49-F238E27FC236}">
                <a16:creationId xmlns:a16="http://schemas.microsoft.com/office/drawing/2014/main" id="{6797DF7F-5AD7-3108-0DF9-CF9108901C5B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357342" y="3570248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TLSHAPE_SLM_4bee1cbe72754a708eb16eaea1d3d42c_Shape">
            <a:extLst>
              <a:ext uri="{FF2B5EF4-FFF2-40B4-BE49-F238E27FC236}">
                <a16:creationId xmlns:a16="http://schemas.microsoft.com/office/drawing/2014/main" id="{9F9E6D35-BB65-F1FE-BB8B-428C4F68577A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6447697" y="3764275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TLSHAPE_SLM_fa8c1b1ad9f94f8e90b327437f902a11_Shape">
            <a:extLst>
              <a:ext uri="{FF2B5EF4-FFF2-40B4-BE49-F238E27FC236}">
                <a16:creationId xmlns:a16="http://schemas.microsoft.com/office/drawing/2014/main" id="{ACC08C40-90FB-7499-7E22-280C6F0280A0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8676453" y="3764027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TLSHAPE_SLM_097fe035032e4cfe9e89d23ddd8d50cc_Shape">
            <a:extLst>
              <a:ext uri="{FF2B5EF4-FFF2-40B4-BE49-F238E27FC236}">
                <a16:creationId xmlns:a16="http://schemas.microsoft.com/office/drawing/2014/main" id="{0168B439-F636-F0B7-3E42-9FB5E27317E9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9521886" y="511754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TLSHAPE_SLM_ca3dbe400c15423493b6c02e5f17ffcf_Shape">
            <a:extLst>
              <a:ext uri="{FF2B5EF4-FFF2-40B4-BE49-F238E27FC236}">
                <a16:creationId xmlns:a16="http://schemas.microsoft.com/office/drawing/2014/main" id="{C6C31533-045C-8E6C-BA3E-277D0F29A9A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9416115" y="4405375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TLSHAPE_SLM_08f73bf86a244f0a81ace1f75efbdd6b_Shape">
            <a:extLst>
              <a:ext uri="{FF2B5EF4-FFF2-40B4-BE49-F238E27FC236}">
                <a16:creationId xmlns:a16="http://schemas.microsoft.com/office/drawing/2014/main" id="{261B46EB-2BB3-AA7B-7B85-5A988D6DD43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9477674" y="465128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TLSHAPE_SLM_07b98bcf678d4671aa63e6c90f0402aa_Shape">
            <a:extLst>
              <a:ext uri="{FF2B5EF4-FFF2-40B4-BE49-F238E27FC236}">
                <a16:creationId xmlns:a16="http://schemas.microsoft.com/office/drawing/2014/main" id="{F99491C8-1BBA-C686-6043-0868B1B009B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9477674" y="489258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TLSHAPE_SL_79f05e8de72e4cc385fce875fa65517f_Header">
            <a:extLst>
              <a:ext uri="{FF2B5EF4-FFF2-40B4-BE49-F238E27FC236}">
                <a16:creationId xmlns:a16="http://schemas.microsoft.com/office/drawing/2014/main" id="{8FB027A5-D006-D04B-BDC7-DFFA600024E5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63500" y="3048339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203864"/>
                </a:solidFill>
                <a:latin typeface="Franklin Gothic Medium" panose="020B0603020102020204" pitchFamily="34" charset="0"/>
              </a:rPr>
              <a:t>Plan</a:t>
            </a:r>
          </a:p>
        </p:txBody>
      </p:sp>
      <p:sp>
        <p:nvSpPr>
          <p:cNvPr id="56" name="OTLSHAPE_SL_207dd3271e3446038430a776476543e7_Header">
            <a:extLst>
              <a:ext uri="{FF2B5EF4-FFF2-40B4-BE49-F238E27FC236}">
                <a16:creationId xmlns:a16="http://schemas.microsoft.com/office/drawing/2014/main" id="{64667820-8805-1FDF-4AD1-C7C3440CDB3F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63500" y="3842785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765A00"/>
                </a:solidFill>
                <a:latin typeface="Franklin Gothic Medium" panose="020B0603020102020204" pitchFamily="34" charset="0"/>
              </a:rPr>
              <a:t>Develop </a:t>
            </a:r>
          </a:p>
          <a:p>
            <a:pPr algn="ctr"/>
            <a:r>
              <a:rPr lang="en-US" sz="1000" dirty="0">
                <a:solidFill>
                  <a:srgbClr val="765A00"/>
                </a:solidFill>
                <a:latin typeface="Franklin Gothic Medium" panose="020B0603020102020204" pitchFamily="34" charset="0"/>
              </a:rPr>
              <a:t>&amp; Test</a:t>
            </a:r>
          </a:p>
        </p:txBody>
      </p:sp>
      <p:sp>
        <p:nvSpPr>
          <p:cNvPr id="58" name="OTLSHAPE_SL_9eb76584bb32452eac07fb2637baea1a_Header">
            <a:extLst>
              <a:ext uri="{FF2B5EF4-FFF2-40B4-BE49-F238E27FC236}">
                <a16:creationId xmlns:a16="http://schemas.microsoft.com/office/drawing/2014/main" id="{366141CA-73E0-64E5-A37C-98E0C6EEC618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69030" y="4780173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dk1"/>
                </a:solidFill>
                <a:latin typeface="Franklin Gothic Medium" panose="020B0603020102020204" pitchFamily="34" charset="0"/>
              </a:rPr>
              <a:t>Launch</a:t>
            </a:r>
          </a:p>
        </p:txBody>
      </p:sp>
      <p:sp>
        <p:nvSpPr>
          <p:cNvPr id="59" name="OTLSHAPE_TB_00000000000000000000000000000000_TimescaleInterval1">
            <a:extLst>
              <a:ext uri="{FF2B5EF4-FFF2-40B4-BE49-F238E27FC236}">
                <a16:creationId xmlns:a16="http://schemas.microsoft.com/office/drawing/2014/main" id="{10FFADA9-C192-7D68-46BD-EAB8D2EBCE3D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907965" y="2369820"/>
            <a:ext cx="203582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Nov</a:t>
            </a:r>
          </a:p>
        </p:txBody>
      </p:sp>
      <p:sp>
        <p:nvSpPr>
          <p:cNvPr id="61" name="OTLSHAPE_TB_00000000000000000000000000000000_TimescaleInterval3">
            <a:extLst>
              <a:ext uri="{FF2B5EF4-FFF2-40B4-BE49-F238E27FC236}">
                <a16:creationId xmlns:a16="http://schemas.microsoft.com/office/drawing/2014/main" id="{D671B4D0-004A-AEB9-95E4-60295C5896A3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2605722" y="2369820"/>
            <a:ext cx="258084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Dez</a:t>
            </a:r>
          </a:p>
        </p:txBody>
      </p:sp>
      <p:sp>
        <p:nvSpPr>
          <p:cNvPr id="63" name="OTLSHAPE_TB_00000000000000000000000000000000_TimescaleInterval5">
            <a:extLst>
              <a:ext uri="{FF2B5EF4-FFF2-40B4-BE49-F238E27FC236}">
                <a16:creationId xmlns:a16="http://schemas.microsoft.com/office/drawing/2014/main" id="{F404407A-C81E-2A1A-D794-756E45EF85E1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4361029" y="2369820"/>
            <a:ext cx="271228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Jan</a:t>
            </a:r>
          </a:p>
        </p:txBody>
      </p:sp>
      <p:sp>
        <p:nvSpPr>
          <p:cNvPr id="65" name="OTLSHAPE_TB_00000000000000000000000000000000_TimescaleInterval7">
            <a:extLst>
              <a:ext uri="{FF2B5EF4-FFF2-40B4-BE49-F238E27FC236}">
                <a16:creationId xmlns:a16="http://schemas.microsoft.com/office/drawing/2014/main" id="{E476F500-DD74-35ED-119B-ABBCDDDAAAC3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6116337" y="2369820"/>
            <a:ext cx="158185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Feb</a:t>
            </a:r>
          </a:p>
        </p:txBody>
      </p:sp>
      <p:sp>
        <p:nvSpPr>
          <p:cNvPr id="67" name="OTLSHAPE_TB_00000000000000000000000000000000_TimescaleInterval9">
            <a:extLst>
              <a:ext uri="{FF2B5EF4-FFF2-40B4-BE49-F238E27FC236}">
                <a16:creationId xmlns:a16="http://schemas.microsoft.com/office/drawing/2014/main" id="{277CB009-A16A-10F5-7E1C-50273FCC11E8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7900420" y="2369820"/>
            <a:ext cx="227626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Mär</a:t>
            </a:r>
          </a:p>
        </p:txBody>
      </p:sp>
      <p:sp>
        <p:nvSpPr>
          <p:cNvPr id="69" name="OTLSHAPE_TB_00000000000000000000000000000000_TimescaleInterval11">
            <a:extLst>
              <a:ext uri="{FF2B5EF4-FFF2-40B4-BE49-F238E27FC236}">
                <a16:creationId xmlns:a16="http://schemas.microsoft.com/office/drawing/2014/main" id="{71B5036F-0849-E68F-25C5-3A53709371FB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9655728" y="2369820"/>
            <a:ext cx="249364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Apr</a:t>
            </a:r>
          </a:p>
        </p:txBody>
      </p:sp>
      <p:sp>
        <p:nvSpPr>
          <p:cNvPr id="71" name="OTLSHAPE_TB_00000000000000000000000000000000_ScaleMarking1">
            <a:extLst>
              <a:ext uri="{FF2B5EF4-FFF2-40B4-BE49-F238E27FC236}">
                <a16:creationId xmlns:a16="http://schemas.microsoft.com/office/drawing/2014/main" id="{F4412FA9-FC5B-AB08-AA6B-4AC311909D2B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907965" y="2145665"/>
            <a:ext cx="304955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dk2"/>
                </a:solidFill>
                <a:latin typeface="Calibri" panose="020F0502020204030204" pitchFamily="34" charset="0"/>
              </a:rPr>
              <a:t>2022</a:t>
            </a:r>
          </a:p>
        </p:txBody>
      </p:sp>
      <p:sp>
        <p:nvSpPr>
          <p:cNvPr id="72" name="OTLSHAPE_SLT_cbc6053273674742982e85d542978064_Title">
            <a:extLst>
              <a:ext uri="{FF2B5EF4-FFF2-40B4-BE49-F238E27FC236}">
                <a16:creationId xmlns:a16="http://schemas.microsoft.com/office/drawing/2014/main" id="{73D126D5-12F8-0929-4052-B7A00D2D5B86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1788493" y="2831793"/>
            <a:ext cx="824305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Brainstorming</a:t>
            </a:r>
          </a:p>
        </p:txBody>
      </p:sp>
      <p:sp>
        <p:nvSpPr>
          <p:cNvPr id="73" name="OTLSHAPE_SLT_9ce940d97a4b4fe7ac0ca3b0352deccb_Title">
            <a:extLst>
              <a:ext uri="{FF2B5EF4-FFF2-40B4-BE49-F238E27FC236}">
                <a16:creationId xmlns:a16="http://schemas.microsoft.com/office/drawing/2014/main" id="{CE4DDD36-7A2B-3933-F10E-DC7BCBDCF7D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1987461" y="3035639"/>
            <a:ext cx="1575731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6" dirty="0">
                <a:solidFill>
                  <a:schemeClr val="lt1"/>
                </a:solidFill>
                <a:latin typeface="Calibri" panose="020F0502020204030204" pitchFamily="34" charset="0"/>
              </a:rPr>
              <a:t>Pflichtenheft erstellen</a:t>
            </a:r>
          </a:p>
        </p:txBody>
      </p:sp>
      <p:sp>
        <p:nvSpPr>
          <p:cNvPr id="74" name="OTLSHAPE_SLT_2ff5b8e034b64a828622147da9a2f6b2_Title">
            <a:extLst>
              <a:ext uri="{FF2B5EF4-FFF2-40B4-BE49-F238E27FC236}">
                <a16:creationId xmlns:a16="http://schemas.microsoft.com/office/drawing/2014/main" id="{CAA39DC5-FFC0-F20A-3EF8-03506F124453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3414436" y="3270236"/>
            <a:ext cx="13589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Präsentation erstellen</a:t>
            </a:r>
          </a:p>
        </p:txBody>
      </p:sp>
      <p:sp>
        <p:nvSpPr>
          <p:cNvPr id="77" name="OTLSHAPE_SLM_2906e62c2d64423a8a6ff0cffce343fd_Title">
            <a:extLst>
              <a:ext uri="{FF2B5EF4-FFF2-40B4-BE49-F238E27FC236}">
                <a16:creationId xmlns:a16="http://schemas.microsoft.com/office/drawing/2014/main" id="{C161BB24-82AB-259F-3E83-ED2147AB2146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6523897" y="3577917"/>
            <a:ext cx="179969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sz="1100" b="1" spc="-8" dirty="0">
                <a:solidFill>
                  <a:srgbClr val="7F6000"/>
                </a:solidFill>
                <a:latin typeface="Calibri" panose="020F0502020204030204" pitchFamily="34" charset="0"/>
              </a:rPr>
              <a:t>Arbeitsumgebung einrichten</a:t>
            </a:r>
          </a:p>
        </p:txBody>
      </p:sp>
      <p:sp>
        <p:nvSpPr>
          <p:cNvPr id="78" name="OTLSHAPE_SLM_4bee1cbe72754a708eb16eaea1d3d42c_Title">
            <a:extLst>
              <a:ext uri="{FF2B5EF4-FFF2-40B4-BE49-F238E27FC236}">
                <a16:creationId xmlns:a16="http://schemas.microsoft.com/office/drawing/2014/main" id="{D0C5CD1D-4A80-38E0-16DC-F5CCEE5A4F40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6622402" y="3775639"/>
            <a:ext cx="131154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sz="1100" b="1" spc="-14" dirty="0">
                <a:solidFill>
                  <a:srgbClr val="7F6000"/>
                </a:solidFill>
                <a:latin typeface="Calibri" panose="020F0502020204030204" pitchFamily="34" charset="0"/>
              </a:rPr>
              <a:t>Datenbankverbindung</a:t>
            </a:r>
          </a:p>
        </p:txBody>
      </p:sp>
      <p:sp>
        <p:nvSpPr>
          <p:cNvPr id="81" name="OTLSHAPE_SLM_fa8c1b1ad9f94f8e90b327437f902a11_Title">
            <a:extLst>
              <a:ext uri="{FF2B5EF4-FFF2-40B4-BE49-F238E27FC236}">
                <a16:creationId xmlns:a16="http://schemas.microsoft.com/office/drawing/2014/main" id="{54938A4E-ED3A-2B5F-E71F-4B0C94890007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8852585" y="3777408"/>
            <a:ext cx="7747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2" dirty="0">
                <a:solidFill>
                  <a:srgbClr val="7F6000"/>
                </a:solidFill>
                <a:latin typeface="Calibri" panose="020F0502020204030204" pitchFamily="34" charset="0"/>
              </a:rPr>
              <a:t>Finaler Test</a:t>
            </a:r>
          </a:p>
        </p:txBody>
      </p:sp>
      <p:sp>
        <p:nvSpPr>
          <p:cNvPr id="82" name="OTLSHAPE_SLT_1548a45929d542f08ebbc364690e3865_Title">
            <a:extLst>
              <a:ext uri="{FF2B5EF4-FFF2-40B4-BE49-F238E27FC236}">
                <a16:creationId xmlns:a16="http://schemas.microsoft.com/office/drawing/2014/main" id="{660BDDBC-7DC5-C523-D16A-341500CDAD99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5570875" y="4084106"/>
            <a:ext cx="93344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Erste</a:t>
            </a:r>
            <a:r>
              <a:rPr lang="en-US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 </a:t>
            </a:r>
            <a:r>
              <a:rPr lang="de-DE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Oberfläche</a:t>
            </a:r>
          </a:p>
        </p:txBody>
      </p:sp>
      <p:sp>
        <p:nvSpPr>
          <p:cNvPr id="83" name="OTLSHAPE_SLT_526de5b69e97497f9a5625d453beb623_Title">
            <a:extLst>
              <a:ext uri="{FF2B5EF4-FFF2-40B4-BE49-F238E27FC236}">
                <a16:creationId xmlns:a16="http://schemas.microsoft.com/office/drawing/2014/main" id="{B778905A-D300-AF5C-D389-93B6138A623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6706421" y="3925271"/>
            <a:ext cx="119813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Funktion</a:t>
            </a:r>
            <a:r>
              <a:rPr lang="en-US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 </a:t>
            </a:r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entwickeln</a:t>
            </a:r>
          </a:p>
        </p:txBody>
      </p:sp>
      <p:sp>
        <p:nvSpPr>
          <p:cNvPr id="84" name="OTLSHAPE_SLT_2e921e95cd8d4b13a13500bc7b21bf4c_Title">
            <a:extLst>
              <a:ext uri="{FF2B5EF4-FFF2-40B4-BE49-F238E27FC236}">
                <a16:creationId xmlns:a16="http://schemas.microsoft.com/office/drawing/2014/main" id="{EE650C96-5883-A571-0DF5-3A81A2330D85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044558" y="4085663"/>
            <a:ext cx="1396999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Funktionen integrieren</a:t>
            </a:r>
          </a:p>
        </p:txBody>
      </p:sp>
      <p:sp>
        <p:nvSpPr>
          <p:cNvPr id="92" name="OTLSHAPE_SLM_097fe035032e4cfe9e89d23ddd8d50cc_Date">
            <a:extLst>
              <a:ext uri="{FF2B5EF4-FFF2-40B4-BE49-F238E27FC236}">
                <a16:creationId xmlns:a16="http://schemas.microsoft.com/office/drawing/2014/main" id="{02AA15C0-B9AC-1CDF-5346-CBCFC57C3D0F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8478835" y="5129496"/>
            <a:ext cx="996061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Fri, Mär 31, 2022</a:t>
            </a:r>
          </a:p>
        </p:txBody>
      </p:sp>
      <p:sp>
        <p:nvSpPr>
          <p:cNvPr id="93" name="OTLSHAPE_SLM_097fe035032e4cfe9e89d23ddd8d50cc_Title">
            <a:extLst>
              <a:ext uri="{FF2B5EF4-FFF2-40B4-BE49-F238E27FC236}">
                <a16:creationId xmlns:a16="http://schemas.microsoft.com/office/drawing/2014/main" id="{3146CB80-78A7-F1EF-76DE-B7F860BE46FD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9725086" y="5121181"/>
            <a:ext cx="10541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8" dirty="0">
                <a:solidFill>
                  <a:srgbClr val="595959"/>
                </a:solidFill>
                <a:latin typeface="Calibri" panose="020F0502020204030204" pitchFamily="34" charset="0"/>
              </a:rPr>
              <a:t>Übergabe</a:t>
            </a:r>
          </a:p>
        </p:txBody>
      </p:sp>
      <p:sp>
        <p:nvSpPr>
          <p:cNvPr id="94" name="OTLSHAPE_SLM_ca3dbe400c15423493b6c02e5f17ffcf_Title">
            <a:extLst>
              <a:ext uri="{FF2B5EF4-FFF2-40B4-BE49-F238E27FC236}">
                <a16:creationId xmlns:a16="http://schemas.microsoft.com/office/drawing/2014/main" id="{0A327D48-1ADB-13E4-D176-2F0D864C220F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8091104" y="4413898"/>
            <a:ext cx="128066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100" b="1" spc="-4" dirty="0">
                <a:solidFill>
                  <a:srgbClr val="595959"/>
                </a:solidFill>
                <a:latin typeface="Calibri" panose="020F0502020204030204" pitchFamily="34" charset="0"/>
              </a:rPr>
              <a:t>Produktdoku </a:t>
            </a:r>
            <a:r>
              <a:rPr lang="de-DE" sz="1100" b="1" spc="-4" dirty="0">
                <a:solidFill>
                  <a:srgbClr val="595959"/>
                </a:solidFill>
                <a:latin typeface="Calibri" panose="020F0502020204030204" pitchFamily="34" charset="0"/>
              </a:rPr>
              <a:t>erstellt</a:t>
            </a:r>
          </a:p>
        </p:txBody>
      </p:sp>
      <p:sp>
        <p:nvSpPr>
          <p:cNvPr id="95" name="OTLSHAPE_SLM_ca3dbe400c15423493b6c02e5f17ffcf_Date">
            <a:extLst>
              <a:ext uri="{FF2B5EF4-FFF2-40B4-BE49-F238E27FC236}">
                <a16:creationId xmlns:a16="http://schemas.microsoft.com/office/drawing/2014/main" id="{3FA4646A-D0E0-F28D-F596-F8C81F5A07A4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9612860" y="4419937"/>
            <a:ext cx="712574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</a:t>
            </a:r>
            <a:r>
              <a:rPr lang="de-DE" sz="900" dirty="0">
                <a:solidFill>
                  <a:srgbClr val="737373"/>
                </a:solidFill>
                <a:latin typeface="Calibri" panose="020F0502020204030204" pitchFamily="34" charset="0"/>
              </a:rPr>
              <a:t> 29, 2022</a:t>
            </a:r>
          </a:p>
        </p:txBody>
      </p:sp>
      <p:sp>
        <p:nvSpPr>
          <p:cNvPr id="96" name="OTLSHAPE_SLM_08f73bf86a244f0a81ace1f75efbdd6b_Title">
            <a:extLst>
              <a:ext uri="{FF2B5EF4-FFF2-40B4-BE49-F238E27FC236}">
                <a16:creationId xmlns:a16="http://schemas.microsoft.com/office/drawing/2014/main" id="{B7AFBEDD-89C8-2585-6270-EEF49D9DD230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8061582" y="4654921"/>
            <a:ext cx="13716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de-DE" sz="1100" b="1" spc="-6" dirty="0" err="1">
                <a:solidFill>
                  <a:srgbClr val="595959"/>
                </a:solidFill>
                <a:latin typeface="Calibri" panose="020F0502020204030204" pitchFamily="34" charset="0"/>
              </a:rPr>
              <a:t>Kundendoku</a:t>
            </a:r>
            <a:r>
              <a:rPr lang="de-DE" sz="1100" b="1" spc="-6" dirty="0">
                <a:solidFill>
                  <a:srgbClr val="595959"/>
                </a:solidFill>
                <a:latin typeface="Calibri" panose="020F0502020204030204" pitchFamily="34" charset="0"/>
              </a:rPr>
              <a:t> erstellt</a:t>
            </a:r>
          </a:p>
        </p:txBody>
      </p:sp>
      <p:sp>
        <p:nvSpPr>
          <p:cNvPr id="97" name="OTLSHAPE_SLM_08f73bf86a244f0a81ace1f75efbdd6b_Date">
            <a:extLst>
              <a:ext uri="{FF2B5EF4-FFF2-40B4-BE49-F238E27FC236}">
                <a16:creationId xmlns:a16="http://schemas.microsoft.com/office/drawing/2014/main" id="{80CFA15C-B686-6E75-99B6-BED2F39F26D8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9680874" y="4670415"/>
            <a:ext cx="863600" cy="1395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 30, 2022</a:t>
            </a:r>
          </a:p>
        </p:txBody>
      </p:sp>
      <p:sp>
        <p:nvSpPr>
          <p:cNvPr id="100" name="OTLSHAPE_SLM_07b98bcf678d4671aa63e6c90f0402aa_Title">
            <a:extLst>
              <a:ext uri="{FF2B5EF4-FFF2-40B4-BE49-F238E27FC236}">
                <a16:creationId xmlns:a16="http://schemas.microsoft.com/office/drawing/2014/main" id="{2FA8CA96-4F2C-D688-B846-6FF85BE52EDA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7934869" y="4896842"/>
            <a:ext cx="149336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de-DE" sz="1100" b="1" spc="-8" dirty="0">
                <a:solidFill>
                  <a:srgbClr val="595959"/>
                </a:solidFill>
                <a:latin typeface="Calibri" panose="020F0502020204030204" pitchFamily="34" charset="0"/>
              </a:rPr>
              <a:t>Kundenschulung erstellt</a:t>
            </a:r>
          </a:p>
        </p:txBody>
      </p:sp>
      <p:sp>
        <p:nvSpPr>
          <p:cNvPr id="101" name="OTLSHAPE_SLM_07b98bcf678d4671aa63e6c90f0402aa_Date">
            <a:extLst>
              <a:ext uri="{FF2B5EF4-FFF2-40B4-BE49-F238E27FC236}">
                <a16:creationId xmlns:a16="http://schemas.microsoft.com/office/drawing/2014/main" id="{21216BB2-78BB-D923-676B-1280A47898EF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9680874" y="4911715"/>
            <a:ext cx="863600" cy="1395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 30, 2022</a:t>
            </a:r>
          </a:p>
        </p:txBody>
      </p:sp>
      <p:sp>
        <p:nvSpPr>
          <p:cNvPr id="102" name="OTLSHAPE_M_177188707e544830b8ce884a45b14d3a_Shape">
            <a:extLst>
              <a:ext uri="{FF2B5EF4-FFF2-40B4-BE49-F238E27FC236}">
                <a16:creationId xmlns:a16="http://schemas.microsoft.com/office/drawing/2014/main" id="{9A141E13-26C5-64F4-3B92-B2CE6C8DD504}"/>
              </a:ext>
            </a:extLst>
          </p:cNvPr>
          <p:cNvSpPr/>
          <p:nvPr>
            <p:custDataLst>
              <p:tags r:id="rId64"/>
            </p:custDataLst>
          </p:nvPr>
        </p:nvSpPr>
        <p:spPr>
          <a:xfrm>
            <a:off x="1740277" y="1880488"/>
            <a:ext cx="165100" cy="165100"/>
          </a:xfrm>
          <a:prstGeom prst="wave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OTLSHAPE_M_e7d42421d9e640a2a107afa423141c46_Shape">
            <a:extLst>
              <a:ext uri="{FF2B5EF4-FFF2-40B4-BE49-F238E27FC236}">
                <a16:creationId xmlns:a16="http://schemas.microsoft.com/office/drawing/2014/main" id="{6193A575-02C8-11BB-2A1F-471008B69362}"/>
              </a:ext>
            </a:extLst>
          </p:cNvPr>
          <p:cNvSpPr/>
          <p:nvPr>
            <p:custDataLst>
              <p:tags r:id="rId65"/>
            </p:custDataLst>
          </p:nvPr>
        </p:nvSpPr>
        <p:spPr>
          <a:xfrm>
            <a:off x="6427784" y="1456055"/>
            <a:ext cx="165100" cy="165100"/>
          </a:xfrm>
          <a:prstGeom prst="wave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OTLSHAPE_M_0e28a84cf6724e00a089964be0d24b0c_Shape">
            <a:extLst>
              <a:ext uri="{FF2B5EF4-FFF2-40B4-BE49-F238E27FC236}">
                <a16:creationId xmlns:a16="http://schemas.microsoft.com/office/drawing/2014/main" id="{242E29C7-C98A-BE53-9343-A1D27EE55B97}"/>
              </a:ext>
            </a:extLst>
          </p:cNvPr>
          <p:cNvSpPr/>
          <p:nvPr>
            <p:custDataLst>
              <p:tags r:id="rId66"/>
            </p:custDataLst>
          </p:nvPr>
        </p:nvSpPr>
        <p:spPr>
          <a:xfrm>
            <a:off x="4750721" y="1892959"/>
            <a:ext cx="165100" cy="165100"/>
          </a:xfrm>
          <a:prstGeom prst="wave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TLSHAPE_M_b1a2b0ad50c54f3db24b3aab69d68fc5_Shape">
            <a:extLst>
              <a:ext uri="{FF2B5EF4-FFF2-40B4-BE49-F238E27FC236}">
                <a16:creationId xmlns:a16="http://schemas.microsoft.com/office/drawing/2014/main" id="{B1745942-A7D1-9384-8B66-CA7FE042F6B4}"/>
              </a:ext>
            </a:extLst>
          </p:cNvPr>
          <p:cNvSpPr/>
          <p:nvPr>
            <p:custDataLst>
              <p:tags r:id="rId67"/>
            </p:custDataLst>
          </p:nvPr>
        </p:nvSpPr>
        <p:spPr>
          <a:xfrm>
            <a:off x="9611671" y="1909943"/>
            <a:ext cx="165100" cy="165100"/>
          </a:xfrm>
          <a:prstGeom prst="wave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TLSHAPE_M_177188707e544830b8ce884a45b14d3a_Title">
            <a:extLst>
              <a:ext uri="{FF2B5EF4-FFF2-40B4-BE49-F238E27FC236}">
                <a16:creationId xmlns:a16="http://schemas.microsoft.com/office/drawing/2014/main" id="{02FAE5A0-DD46-5071-C94E-05E7B2DA746E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937127" y="1762167"/>
            <a:ext cx="8382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8" dirty="0">
                <a:solidFill>
                  <a:schemeClr val="dk1"/>
                </a:solidFill>
                <a:latin typeface="Calibri" panose="020F0502020204030204" pitchFamily="34" charset="0"/>
              </a:rPr>
              <a:t>Project Kickoff</a:t>
            </a:r>
          </a:p>
        </p:txBody>
      </p:sp>
      <p:sp>
        <p:nvSpPr>
          <p:cNvPr id="112" name="OTLSHAPE_M_177188707e544830b8ce884a45b14d3a_Date">
            <a:extLst>
              <a:ext uri="{FF2B5EF4-FFF2-40B4-BE49-F238E27FC236}">
                <a16:creationId xmlns:a16="http://schemas.microsoft.com/office/drawing/2014/main" id="{3B190722-14FE-6B51-6DAB-32832AB95E8F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1937126" y="1958086"/>
            <a:ext cx="403955" cy="1524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6" dirty="0">
                <a:solidFill>
                  <a:schemeClr val="dk2"/>
                </a:solidFill>
                <a:latin typeface="Calibri" panose="020F0502020204030204" pitchFamily="34" charset="0"/>
              </a:rPr>
              <a:t>Nov 15</a:t>
            </a:r>
          </a:p>
        </p:txBody>
      </p:sp>
      <p:sp>
        <p:nvSpPr>
          <p:cNvPr id="113" name="OTLSHAPE_M_e7d42421d9e640a2a107afa423141c46_Title">
            <a:extLst>
              <a:ext uri="{FF2B5EF4-FFF2-40B4-BE49-F238E27FC236}">
                <a16:creationId xmlns:a16="http://schemas.microsoft.com/office/drawing/2014/main" id="{F7FD149E-6129-2201-477D-09D9785C846B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6624634" y="1350433"/>
            <a:ext cx="1316858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de-DE" sz="1100" b="1" spc="-10" dirty="0">
                <a:solidFill>
                  <a:schemeClr val="dk1"/>
                </a:solidFill>
                <a:latin typeface="Calibri" panose="020F0502020204030204" pitchFamily="34" charset="0"/>
              </a:rPr>
              <a:t>Freigabe</a:t>
            </a:r>
            <a:r>
              <a:rPr lang="en-US" sz="1100" b="1" spc="-10" dirty="0">
                <a:solidFill>
                  <a:schemeClr val="dk1"/>
                </a:solidFill>
                <a:latin typeface="Calibri" panose="020F0502020204030204" pitchFamily="34" charset="0"/>
              </a:rPr>
              <a:t> Pflichtenheft</a:t>
            </a:r>
          </a:p>
        </p:txBody>
      </p:sp>
      <p:sp>
        <p:nvSpPr>
          <p:cNvPr id="114" name="OTLSHAPE_M_e7d42421d9e640a2a107afa423141c46_Date">
            <a:extLst>
              <a:ext uri="{FF2B5EF4-FFF2-40B4-BE49-F238E27FC236}">
                <a16:creationId xmlns:a16="http://schemas.microsoft.com/office/drawing/2014/main" id="{6DE89898-38B1-E7CC-D1AA-5427D4D32C5C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6624634" y="1520952"/>
            <a:ext cx="381000" cy="1550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Feb 06</a:t>
            </a:r>
          </a:p>
        </p:txBody>
      </p:sp>
      <p:sp>
        <p:nvSpPr>
          <p:cNvPr id="115" name="OTLSHAPE_M_0e28a84cf6724e00a089964be0d24b0c_Title">
            <a:extLst>
              <a:ext uri="{FF2B5EF4-FFF2-40B4-BE49-F238E27FC236}">
                <a16:creationId xmlns:a16="http://schemas.microsoft.com/office/drawing/2014/main" id="{1E35F904-15EE-34D5-B1D9-7BDAB71014B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4947570" y="1787338"/>
            <a:ext cx="1401477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Abgabe Pflichtenheft</a:t>
            </a:r>
          </a:p>
        </p:txBody>
      </p:sp>
      <p:sp>
        <p:nvSpPr>
          <p:cNvPr id="116" name="OTLSHAPE_M_0e28a84cf6724e00a089964be0d24b0c_Date">
            <a:extLst>
              <a:ext uri="{FF2B5EF4-FFF2-40B4-BE49-F238E27FC236}">
                <a16:creationId xmlns:a16="http://schemas.microsoft.com/office/drawing/2014/main" id="{F30A2BD6-65EF-4FD1-9677-0B42E8EC5F13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4947571" y="1957856"/>
            <a:ext cx="381000" cy="1550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Jan 07</a:t>
            </a:r>
          </a:p>
        </p:txBody>
      </p:sp>
      <p:sp>
        <p:nvSpPr>
          <p:cNvPr id="121" name="OTLSHAPE_M_b1a2b0ad50c54f3db24b3aab69d68fc5_Title">
            <a:extLst>
              <a:ext uri="{FF2B5EF4-FFF2-40B4-BE49-F238E27FC236}">
                <a16:creationId xmlns:a16="http://schemas.microsoft.com/office/drawing/2014/main" id="{D6EA5407-BF82-94D0-5604-5C53E6A97ECD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9808521" y="1804322"/>
            <a:ext cx="7620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6" dirty="0">
                <a:solidFill>
                  <a:srgbClr val="3A8900"/>
                </a:solidFill>
                <a:latin typeface="Calibri" panose="020F0502020204030204" pitchFamily="34" charset="0"/>
              </a:rPr>
              <a:t>Übergabe</a:t>
            </a:r>
          </a:p>
        </p:txBody>
      </p:sp>
      <p:sp>
        <p:nvSpPr>
          <p:cNvPr id="122" name="OTLSHAPE_M_b1a2b0ad50c54f3db24b3aab69d68fc5_Date">
            <a:extLst>
              <a:ext uri="{FF2B5EF4-FFF2-40B4-BE49-F238E27FC236}">
                <a16:creationId xmlns:a16="http://schemas.microsoft.com/office/drawing/2014/main" id="{890AEC98-8264-3CC5-2842-D191D83D61F7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9808521" y="1975408"/>
            <a:ext cx="528516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6" dirty="0">
                <a:solidFill>
                  <a:srgbClr val="3A8900"/>
                </a:solidFill>
                <a:latin typeface="Calibri" panose="020F0502020204030204" pitchFamily="34" charset="0"/>
              </a:rPr>
              <a:t>Mar 31</a:t>
            </a:r>
          </a:p>
        </p:txBody>
      </p:sp>
    </p:spTree>
    <p:extLst>
      <p:ext uri="{BB962C8B-B14F-4D97-AF65-F5344CB8AC3E}">
        <p14:creationId xmlns:p14="http://schemas.microsoft.com/office/powerpoint/2010/main" val="2832481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ENDDATE" val="2019-12-22T12:59:00.0000000"/>
  <p:tag name="OTLTIMEBANDWORKINGDAYS" val="Standard"/>
  <p:tag name="OTLTIMEBANDELAPSEDTIMEEXTENSION" val="False"/>
  <p:tag name="OTLTIMEBANDUSETIME" val="False"/>
  <p:tag name="OTLTIMEBANDTIMECONFIGWORKDAYSTART" val="00:00:00"/>
  <p:tag name="OTLTIMEBANDTIMECONFIGWORKDAYEND" val="23:59:00"/>
  <p:tag name="OTLTIMEBANDAPPENDYEARONYEARCHANGE" val="False"/>
  <p:tag name="OTLTIMEBANDSCALEMARKING" val="Years"/>
  <p:tag name="OTLRIGHTENDCAPSMARGINRIGHT" val="20"/>
  <p:tag name="OTLLEFTENDCAPSMARGINLEFT" val="20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SCALEFORMAT" val="MMM"/>
  <p:tag name="OTLTIMEBANDSCALETYPE" val="Months"/>
  <p:tag name="OTLTIMEBANDSHAPETYPE" val="RoundedCornerRectangleTimeband"/>
  <p:tag name="OTLTIMEBANDSHAPEHEIGHT" val="20"/>
  <p:tag name="OTLTIMEBANDSHAPEPADDINGLEFT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1-01T00:00:00.0000000Z"/>
  <p:tag name="OTLENDDATE" val="2019-02-24T11:59:00.0000000"/>
  <p:tag name="OTLDURATIONFORMAT" val="day"/>
  <p:tag name="OTLSPACING" val="3"/>
  <p:tag name="OTLSHAPETHICKNESSTYPE" val="Thin"/>
  <p:tag name="OTLWEEKNUMBERINGFORMAT" val="WNFormat1"/>
  <p:tag name="OTLWEEKNUMBERINGISVISIBLE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2-01T00:00:00.0000000Z"/>
  <p:tag name="OTLENDDATE" val="2019-03-07T11:59:00.0000000"/>
  <p:tag name="OTLDURATIONFORMAT" val="day"/>
  <p:tag name="OTLSPACING" val="5"/>
  <p:tag name="OTLSHAPETHICKNESSTYPE" val="Thin"/>
  <p:tag name="OTLWEEKNUMBERINGFORMAT" val="WNFormat1"/>
  <p:tag name="OTLWEEKNUMBERINGISVISIBLE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3-01T00:00:00.0000000Z"/>
  <p:tag name="OTLENDDATE" val="2019-05-16T11:59:00.0000000"/>
  <p:tag name="OTLDURATIONFORMAT" val="day"/>
  <p:tag name="OTLSPACING" val="5"/>
  <p:tag name="OTLSHAPETHICKNESSTYPE" val="Thin"/>
  <p:tag name="OTLWEEKNUMBERINGFORMAT" val="WNFormat1"/>
  <p:tag name="OTLWEEKNUMBERINGISVISIBLE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5-11T00:00:00.0000000"/>
  <p:tag name="OTLENDDATE" val="2019-06-30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6-30T00:00:00.0000000"/>
  <p:tag name="OTLENDDATE" val="2019-08-17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8-18T00:00:00.0000000Z"/>
  <p:tag name="OTLENDDATE" val="2019-10-04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ELAPSEDSTYLE" val="Thi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erformance Validation"/>
  <p:tag name="OTLDATE" val="2019-03-14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Test Complete"/>
  <p:tag name="OTLDATE" val="2019-05-14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Load Balance"/>
  <p:tag name="OTLDATE" val="2019-10-02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ddd, 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WW Launch Event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Beta Blog Launch"/>
  <p:tag name="OTLDATE" val="2019-07-04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Gartner Analyst Review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ublic Website Live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roject Kickoff"/>
  <p:tag name="OTLDATE" val="2019-01-25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Executive Review"/>
  <p:tag name="OTLDATE" val="2019-03-10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Executive Decision"/>
  <p:tag name="OTLDATE" val="2019-03-2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Final Release"/>
  <p:tag name="OTLDATE" val="2019-10-20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A31AAE30-E132-48E3-9367-3949391D52F9}" vid="{EBD5466B-19E5-4A8C-9174-EC6493822E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0</Words>
  <Application>Microsoft Office PowerPoint</Application>
  <PresentationFormat>Breitbild</PresentationFormat>
  <Paragraphs>133</Paragraphs>
  <Slides>15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Arial</vt:lpstr>
      <vt:lpstr>BMW Group Condensed</vt:lpstr>
      <vt:lpstr>BMWGroupTN Condensed</vt:lpstr>
      <vt:lpstr>Calibri</vt:lpstr>
      <vt:lpstr>Fira Sans Medium</vt:lpstr>
      <vt:lpstr>Franklin Gothic Medium</vt:lpstr>
      <vt:lpstr>Symbol</vt:lpstr>
      <vt:lpstr>Wingdings</vt:lpstr>
      <vt:lpstr>BMW Group 2021</vt:lpstr>
      <vt:lpstr>think-cell Folie</vt:lpstr>
      <vt:lpstr>Meilenstein 1: pflichtenheft</vt:lpstr>
      <vt:lpstr> Gliederung</vt:lpstr>
      <vt:lpstr>ALLGEMEINES</vt:lpstr>
      <vt:lpstr>PowerPoint-Präsentation</vt:lpstr>
      <vt:lpstr> Gliederung</vt:lpstr>
      <vt:lpstr>Ziele </vt:lpstr>
      <vt:lpstr>Ressourcen/Anforderungen</vt:lpstr>
      <vt:lpstr> Gliederung</vt:lpstr>
      <vt:lpstr>Meilensteine</vt:lpstr>
      <vt:lpstr> Gliederung</vt:lpstr>
      <vt:lpstr>Anforderungen</vt:lpstr>
      <vt:lpstr> Gliederung</vt:lpstr>
      <vt:lpstr>Zeitplan</vt:lpstr>
      <vt:lpstr> Gliederung</vt:lpstr>
      <vt:lpstr>Danke für di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la Frank, TU-65</dc:creator>
  <cp:lastModifiedBy>Frank Sylla</cp:lastModifiedBy>
  <cp:revision>2</cp:revision>
  <dcterms:created xsi:type="dcterms:W3CDTF">2022-12-15T08:02:51Z</dcterms:created>
  <dcterms:modified xsi:type="dcterms:W3CDTF">2023-01-07T21:11:09Z</dcterms:modified>
</cp:coreProperties>
</file>